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omments/modernComment_7FF64A5B_DDA87059.xml" ContentType="application/vnd.ms-powerpoint.comment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omments/modernComment_7FF64A5C_D428FDCB.xml" ContentType="application/vnd.ms-powerpoint.comments+xml"/>
  <Override PartName="/ppt/comments/modernComment_7FF64A62_3712A59F.xml" ContentType="application/vnd.ms-powerpoint.comments+xml"/>
  <Override PartName="/ppt/comments/modernComment_7FF64A5E_125D9ED9.xml" ContentType="application/vnd.ms-powerpoint.comments+xml"/>
  <Override PartName="/ppt/comments/modernComment_7FF64A5F_8D204AEB.xml" ContentType="application/vnd.ms-powerpoint.comments+xml"/>
  <Override PartName="/ppt/comments/modernComment_7FF64A61_2D3D8E1E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915" r:id="rId4"/>
    <p:sldMasterId id="2147483990" r:id="rId5"/>
  </p:sldMasterIdLst>
  <p:notesMasterIdLst>
    <p:notesMasterId r:id="rId21"/>
  </p:notesMasterIdLst>
  <p:sldIdLst>
    <p:sldId id="1963" r:id="rId6"/>
    <p:sldId id="2146847302" r:id="rId7"/>
    <p:sldId id="2146847303" r:id="rId8"/>
    <p:sldId id="2146847266" r:id="rId9"/>
    <p:sldId id="2146847267" r:id="rId10"/>
    <p:sldId id="2146847268" r:id="rId11"/>
    <p:sldId id="2146847269" r:id="rId12"/>
    <p:sldId id="2146847323" r:id="rId13"/>
    <p:sldId id="2146847270" r:id="rId14"/>
    <p:sldId id="2146847324" r:id="rId15"/>
    <p:sldId id="2146847330" r:id="rId16"/>
    <p:sldId id="2146847326" r:id="rId17"/>
    <p:sldId id="2146847327" r:id="rId18"/>
    <p:sldId id="2146847328" r:id="rId19"/>
    <p:sldId id="2146847329" r:id="rId20"/>
  </p:sldIdLst>
  <p:sldSz cx="12192000" cy="6858000"/>
  <p:notesSz cx="6805613" cy="9939338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E6D6636-5690-482B-8E4B-0EDDD92399A1}">
          <p14:sldIdLst>
            <p14:sldId id="1963"/>
          </p14:sldIdLst>
        </p14:section>
        <p14:section name="EDB Data Table" id="{6940ECA8-4987-40C4-8753-794AA95521D3}">
          <p14:sldIdLst>
            <p14:sldId id="2146847302"/>
            <p14:sldId id="2146847303"/>
            <p14:sldId id="2146847266"/>
            <p14:sldId id="2146847267"/>
            <p14:sldId id="2146847268"/>
            <p14:sldId id="2146847269"/>
            <p14:sldId id="2146847323"/>
            <p14:sldId id="2146847270"/>
          </p14:sldIdLst>
        </p14:section>
        <p14:section name="EXL Comments" id="{3457F8F6-7D15-49AA-BF00-506551B401FE}">
          <p14:sldIdLst>
            <p14:sldId id="2146847324"/>
          </p14:sldIdLst>
        </p14:section>
        <p14:section name="Takeda Comments" id="{43E90133-7831-4AC4-9E12-CF756505A5D4}">
          <p14:sldIdLst>
            <p14:sldId id="2146847330"/>
            <p14:sldId id="2146847326"/>
            <p14:sldId id="2146847327"/>
            <p14:sldId id="2146847328"/>
            <p14:sldId id="2146847329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DF549D-B831-F102-B33F-2A3D1897A096}" name="Kiew, Stefanie" initials="KS" userId="S::stefanie.kiew@takeda.com::92d86f62-d297-4550-af10-239e1fed3ea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918"/>
    <a:srgbClr val="BD120A"/>
    <a:srgbClr val="000000"/>
    <a:srgbClr val="450A0A"/>
    <a:srgbClr val="F78C85"/>
    <a:srgbClr val="E1242A"/>
    <a:srgbClr val="EE1100"/>
    <a:srgbClr val="636169"/>
    <a:srgbClr val="FFFFFF"/>
    <a:srgbClr val="ACB5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264018-AC9F-4B88-AB52-779196FB686F}" v="188" dt="2023-07-20T08:59:35.408"/>
    <p1510:client id="{94FC1B60-6B19-4727-9E24-A8A28BD65244}" v="6" dt="2023-07-20T11:04:26.0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pos="3840"/>
        <p:guide orient="horz" pos="213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omments/modernComment_7FF64A5B_DDA8705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AEA000C-EAC6-4ABD-93A1-54432AFB7A41}" authorId="{11DF549D-B831-F102-B33F-2A3D1897A096}" created="2023-07-20T09:37:08.332">
    <pc:sldMkLst xmlns:pc="http://schemas.microsoft.com/office/powerpoint/2013/main/command">
      <pc:docMk/>
      <pc:sldMk cId="3718803545" sldId="2146847323"/>
    </pc:sldMkLst>
    <p188:txBody>
      <a:bodyPr/>
      <a:lstStyle/>
      <a:p>
        <a:r>
          <a:rPr lang="en-GB"/>
          <a:t>Doesn't exist in our mart. Do we need "associated_brand_nm" to link to product?</a:t>
        </a:r>
      </a:p>
    </p188:txBody>
  </p188:cm>
</p188:cmLst>
</file>

<file path=ppt/comments/modernComment_7FF64A5C_D428FDC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23EB1DC-0DB7-43E1-979B-CDB6EB2F960D}" authorId="{11DF549D-B831-F102-B33F-2A3D1897A096}" created="2023-07-12T09:32:30.69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59456203" sldId="2146847324"/>
      <ac:spMk id="3" creationId="{D515D79B-5CB5-9F2A-D26E-E5176231D50C}"/>
      <ac:txMk cp="175" len="267">
        <ac:context len="1726" hash="1826438368"/>
      </ac:txMk>
    </ac:txMkLst>
    <p188:pos x="11041223" y="995612"/>
    <p188:replyLst>
      <p188:reply id="{04C3F7A4-A5DA-4F2F-BB2A-E0F6491AEA46}" authorId="{11DF549D-B831-F102-B33F-2A3D1897A096}" created="2023-07-20T09:10:27.033">
        <p188:txBody>
          <a:bodyPr/>
          <a:lstStyle/>
          <a:p>
            <a:r>
              <a:rPr lang="en-GB"/>
              <a:t>Need confirmation from Matomo team on what is being recorded to enable proper annotation</a:t>
            </a:r>
          </a:p>
        </p188:txBody>
      </p188:reply>
    </p188:replyLst>
    <p188:txBody>
      <a:bodyPr/>
      <a:lstStyle/>
      <a:p>
        <a:r>
          <a:rPr lang="en-GB"/>
          <a:t>To clarify, is this because the moment someone lands on a page, it creates a session and a page is an action. Therefore, there won't ever be a session without an action/event?</a:t>
        </a:r>
      </a:p>
    </p188:txBody>
  </p188:cm>
  <p188:cm id="{AF1627D9-6FE1-48CB-A31D-5E477582455B}" authorId="{11DF549D-B831-F102-B33F-2A3D1897A096}" created="2023-07-12T09:33:59.51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59456203" sldId="2146847324"/>
      <ac:spMk id="3" creationId="{D515D79B-5CB5-9F2A-D26E-E5176231D50C}"/>
      <ac:txMk cp="518" len="112">
        <ac:context len="1726" hash="1826438368"/>
      </ac:txMk>
    </ac:txMkLst>
    <p188:pos x="10793573" y="1976687"/>
    <p188:replyLst>
      <p188:reply id="{C50F2EDD-1D51-406D-9B1B-E07EF21E25AA}" authorId="{11DF549D-B831-F102-B33F-2A3D1897A096}" created="2023-07-14T10:29:09.131">
        <p188:txBody>
          <a:bodyPr/>
          <a:lstStyle/>
          <a:p>
            <a:r>
              <a:rPr lang="en-GB"/>
              <a:t>Web id campaign tag TBC?</a:t>
            </a:r>
          </a:p>
        </p188:txBody>
      </p188:reply>
      <p188:reply id="{4408D4F9-D67C-4B7E-BB21-65184B39CDB7}" authorId="{11DF549D-B831-F102-B33F-2A3D1897A096}" created="2023-07-20T09:14:24.891">
        <p188:txBody>
          <a:bodyPr/>
          <a:lstStyle/>
          <a:p>
            <a:r>
              <a:rPr lang="en-GB"/>
              <a:t>Short term, mapping file required mtm_campaign parameter?. Will need to ask camp ops, Matthias on process for web&gt;SMILE campaign mapping </a:t>
            </a:r>
          </a:p>
        </p188:txBody>
      </p188:reply>
      <p188:reply id="{249327EA-F170-4028-A38C-B9AFFC965071}" authorId="{11DF549D-B831-F102-B33F-2A3D1897A096}" created="2023-07-20T09:19:00.939">
        <p188:txBody>
          <a:bodyPr/>
          <a:lstStyle/>
          <a:p>
            <a:r>
              <a:rPr lang="en-GB"/>
              <a:t>Campaign id is linked to the session, not the page</a:t>
            </a:r>
          </a:p>
        </p188:txBody>
      </p188:reply>
    </p188:replyLst>
    <p188:txBody>
      <a:bodyPr/>
      <a:lstStyle/>
      <a:p>
        <a:r>
          <a:rPr lang="en-GB"/>
          <a:t>Do we have the campaign information from the mtm_campaign parameter? (Yes, confirmed - It's in "Matomo Campaign ID" field. But to your point, there is no link at the moment to SMILE campaigns. I don't think a process exists either</a:t>
        </a:r>
      </a:p>
    </p188:txBody>
  </p188:cm>
  <p188:cm id="{E96D9AE0-D9E7-450C-B6F3-1897FB8B6FFB}" authorId="{11DF549D-B831-F102-B33F-2A3D1897A096}" created="2023-07-12T09:35:18.07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59456203" sldId="2146847324"/>
      <ac:spMk id="3" creationId="{D515D79B-5CB5-9F2A-D26E-E5176231D50C}"/>
      <ac:txMk cp="799" len="197">
        <ac:context len="1726" hash="1826438368"/>
      </ac:txMk>
    </ac:txMkLst>
    <p188:pos x="10888823" y="2948237"/>
    <p188:replyLst>
      <p188:reply id="{D54D19BF-8F38-48AA-8BA8-83618B31EAC3}" authorId="{11DF549D-B831-F102-B33F-2A3D1897A096}" created="2023-07-20T09:20:12.813">
        <p188:txBody>
          <a:bodyPr/>
          <a:lstStyle/>
          <a:p>
            <a:r>
              <a:rPr lang="en-GB"/>
              <a:t>Linked to session, not a page </a:t>
            </a:r>
          </a:p>
        </p188:txBody>
      </p188:reply>
    </p188:replyLst>
    <p188:txBody>
      <a:bodyPr/>
      <a:lstStyle/>
      <a:p>
        <a:r>
          <a:rPr lang="en-GB"/>
          <a:t>A product paramater has been incorporated in the mtm tagged urls. And EDB team has said this will eventually be used to link to product. I can see this coming through under "Campaign Keyword" field</a:t>
        </a:r>
      </a:p>
    </p188:txBody>
  </p188:cm>
  <p188:cm id="{AA6A5262-E85D-4F91-8257-EDB953CC1626}" authorId="{11DF549D-B831-F102-B33F-2A3D1897A096}" created="2023-07-12T09:36:20.55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59456203" sldId="2146847324"/>
      <ac:spMk id="3" creationId="{D515D79B-5CB5-9F2A-D26E-E5176231D50C}"/>
      <ac:txMk cp="1437" len="31">
        <ac:context len="1726" hash="1826438368"/>
      </ac:txMk>
    </ac:txMkLst>
    <p188:pos x="3897473" y="4900862"/>
    <p188:replyLst>
      <p188:reply id="{20585E11-4EC2-4338-A27E-57EFF7D21F6E}" authorId="{11DF549D-B831-F102-B33F-2A3D1897A096}" created="2023-07-20T09:25:29.319">
        <p188:txBody>
          <a:bodyPr/>
          <a:lstStyle/>
          <a:p>
            <a:r>
              <a:rPr lang="en-GB"/>
              <a:t>Filter out test data, test data can be checked in Matomo analytics itself</a:t>
            </a:r>
          </a:p>
        </p188:txBody>
      </p188:reply>
    </p188:replyLst>
    <p188:txBody>
      <a:bodyPr/>
      <a:lstStyle/>
      <a:p>
        <a:r>
          <a:rPr lang="en-GB"/>
          <a:t>Can we have a field created where we can apply to  filter out test data? Don't think we would want to hard code filter test data out</a:t>
        </a:r>
      </a:p>
    </p188:txBody>
  </p188:cm>
  <p188:cm id="{5CE23651-5BB6-47AA-8243-D45BACDA4350}" authorId="{11DF549D-B831-F102-B33F-2A3D1897A096}" created="2023-07-12T09:39:00.23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59456203" sldId="2146847324"/>
      <ac:spMk id="3" creationId="{D515D79B-5CB5-9F2A-D26E-E5176231D50C}"/>
      <ac:txMk cp="1538" len="58">
        <ac:context len="1726" hash="1826438368"/>
      </ac:txMk>
    </ac:txMkLst>
    <p188:pos x="5650073" y="5634287"/>
    <p188:replyLst>
      <p188:reply id="{2BE72387-D322-4D11-ACF9-17189B0E70AC}" authorId="{11DF549D-B831-F102-B33F-2A3D1897A096}" created="2023-07-14T10:36:25.032">
        <p188:txBody>
          <a:bodyPr/>
          <a:lstStyle/>
          <a:p>
            <a:r>
              <a:rPr lang="en-GB"/>
              <a:t>Clarity from Matthias required to understand how to distinguish data - UK, IE, UKIE</a:t>
            </a:r>
          </a:p>
        </p188:txBody>
      </p188:reply>
    </p188:replyLst>
    <p188:txBody>
      <a:bodyPr/>
      <a:lstStyle/>
      <a:p>
        <a:r>
          <a:rPr lang="en-GB"/>
          <a:t>It looks like they have grouped UK/IE under country code GB (attached image) </a:t>
        </a:r>
      </a:p>
    </p188:txBody>
  </p188:cm>
  <p188:cm id="{E9A0BF98-72D3-4FF9-ADBD-02D51E5B2D7A}" authorId="{11DF549D-B831-F102-B33F-2A3D1897A096}" created="2023-07-12T09:39:51.9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59456203" sldId="2146847324"/>
      <ac:spMk id="3" creationId="{D515D79B-5CB5-9F2A-D26E-E5176231D50C}"/>
      <ac:txMk cp="1677" len="48">
        <ac:context len="1726" hash="1826438368"/>
      </ac:txMk>
    </ac:txMkLst>
    <p188:pos x="5059523" y="6120062"/>
    <p188:txBody>
      <a:bodyPr/>
      <a:lstStyle/>
      <a:p>
        <a:r>
          <a:rPr lang="en-GB"/>
          <a:t>I think this is expected as we can only track sessions in SMILE HCP logged in with Takeda ID and accepted cookies</a:t>
        </a:r>
      </a:p>
    </p188:txBody>
  </p188:cm>
</p188:cmLst>
</file>

<file path=ppt/comments/modernComment_7FF64A5E_125D9ED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E61B80E-59EE-400E-9CEF-BEFDCD0E8483}" authorId="{11DF549D-B831-F102-B33F-2A3D1897A096}" created="2023-07-20T09:34:42.294">
    <pc:sldMkLst xmlns:pc="http://schemas.microsoft.com/office/powerpoint/2013/main/command">
      <pc:docMk/>
      <pc:sldMk cId="308125401" sldId="2146847326"/>
    </pc:sldMkLst>
    <p188:pos x="10804525" y="2349500"/>
    <p188:txBody>
      <a:bodyPr/>
      <a:lstStyle/>
      <a:p>
        <a:r>
          <a:rPr lang="en-GB"/>
          <a:t>Integration team to exclude non-related country data from our mart </a:t>
        </a:r>
      </a:p>
    </p188:txBody>
  </p188:cm>
</p188:cmLst>
</file>

<file path=ppt/comments/modernComment_7FF64A5F_8D204AE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AE57997-8CDE-4C97-BB66-FDBA37895D8E}" authorId="{11DF549D-B831-F102-B33F-2A3D1897A096}" created="2023-07-20T09:45:54.32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67703787" sldId="2146847327"/>
      <ac:spMk id="7" creationId="{9A78DD92-9E3B-AF95-26D7-158B6E8A4DB9}"/>
      <ac:txMk cp="243" len="12">
        <ac:context len="512" hash="3322576060"/>
      </ac:txMk>
    </ac:txMkLst>
    <p188:pos x="1772261" y="1334715"/>
    <p188:replyLst>
      <p188:reply id="{37D2469A-CBBE-44FF-A45A-ED544D388DF5}" authorId="{11DF549D-B831-F102-B33F-2A3D1897A096}" created="2023-07-20T10:53:47.134">
        <p188:txBody>
          <a:bodyPr/>
          <a:lstStyle/>
          <a:p>
            <a:r>
              <a:rPr lang="en-GB"/>
              <a:t>Glossary of Matomo analytics terms provided https://glossary.matomo.org/#metrics</a:t>
            </a:r>
          </a:p>
        </p188:txBody>
      </p188:reply>
    </p188:replyLst>
    <p188:txBody>
      <a:bodyPr/>
      <a:lstStyle/>
      <a:p>
        <a:r>
          <a:rPr lang="en-GB"/>
          <a:t>Stef to provide definition to Luis for measure creation</a:t>
        </a:r>
      </a:p>
    </p188:txBody>
  </p188:cm>
  <p188:cm id="{75B6A231-A75A-4391-AE2F-5BE7059C0B8B}" authorId="{11DF549D-B831-F102-B33F-2A3D1897A096}" created="2023-07-20T09:47:43.44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67703787" sldId="2146847327"/>
      <ac:spMk id="7" creationId="{9A78DD92-9E3B-AF95-26D7-158B6E8A4DB9}"/>
      <ac:txMk cp="101" len="54">
        <ac:context len="512" hash="3322576060"/>
      </ac:txMk>
    </ac:txMkLst>
    <p188:pos x="4544036" y="486990"/>
    <p188:txBody>
      <a:bodyPr/>
      <a:lstStyle/>
      <a:p>
        <a:r>
          <a:rPr lang="en-GB"/>
          <a:t>No, # sessions is #visits</a:t>
        </a:r>
      </a:p>
    </p188:txBody>
  </p188:cm>
</p188:cmLst>
</file>

<file path=ppt/comments/modernComment_7FF64A61_2D3D8E1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4742619-D8F6-42ED-B7B9-5002BA8E7B08}" authorId="{11DF549D-B831-F102-B33F-2A3D1897A096}" created="2023-07-20T09:50:15.21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759008798" sldId="2146847329"/>
      <ac:spMk id="5" creationId="{DC9402C2-400B-DD55-4E2C-1320E06F1D0A}"/>
      <ac:txMk cp="174" len="94">
        <ac:context len="316" hash="3681857696"/>
      </ac:txMk>
    </ac:txMkLst>
    <p188:pos x="8990067" y="1098458"/>
    <p188:txBody>
      <a:bodyPr/>
      <a:lstStyle/>
      <a:p>
        <a:r>
          <a:rPr lang="en-GB"/>
          <a:t>Check with Matomo team </a:t>
        </a:r>
      </a:p>
    </p188:txBody>
  </p188:cm>
</p188:cmLst>
</file>

<file path=ppt/comments/modernComment_7FF64A62_3712A59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C9232DF-2C51-40A7-90CE-9B6C801543E3}" authorId="{11DF549D-B831-F102-B33F-2A3D1897A096}" created="2023-07-20T09:40:40.30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923968927" sldId="2146847330"/>
      <ac:spMk id="4" creationId="{74FF73A8-B8B8-ECEE-A9B6-ECF5271128DD}"/>
      <ac:txMk cp="6" len="29">
        <ac:context len="1308" hash="1780030711"/>
      </ac:txMk>
    </ac:txMkLst>
    <p188:pos x="2944711" y="518160"/>
    <p188:txBody>
      <a:bodyPr/>
      <a:lstStyle/>
      <a:p>
        <a:r>
          <a:rPr lang="en-GB"/>
          <a:t>Suggestion from Luis to start of with having a separate page as linkage to HCPs are bare minimum at the moment</a:t>
        </a:r>
      </a:p>
    </p188:txBody>
  </p188:cm>
  <p188:cm id="{51DFD73F-0BE4-4630-8CD6-3F45600C9A29}" authorId="{11DF549D-B831-F102-B33F-2A3D1897A096}" created="2023-07-20T09:54:17.08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923968927" sldId="2146847330"/>
      <ac:spMk id="4" creationId="{74FF73A8-B8B8-ECEE-A9B6-ECF5271128DD}"/>
      <ac:txMk cp="672" len="17">
        <ac:context len="1308" hash="1780030711"/>
      </ac:txMk>
    </ac:txMkLst>
    <p188:pos x="3116161" y="3204210"/>
    <p188:txBody>
      <a:bodyPr/>
      <a:lstStyle/>
      <a:p>
        <a:r>
          <a:rPr lang="en-GB"/>
          <a:t>Try and find end to end example to assess how mapping can be done</a:t>
        </a:r>
      </a:p>
    </p188:txBody>
  </p188:cm>
  <p188:cm id="{D71669C6-B760-477D-87D9-6352AD66E9BC}" authorId="{11DF549D-B831-F102-B33F-2A3D1897A096}" created="2023-07-20T09:58:05.87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923968927" sldId="2146847330"/>
      <ac:spMk id="4" creationId="{74FF73A8-B8B8-ECEE-A9B6-ECF5271128DD}"/>
      <ac:txMk cp="359" len="60">
        <ac:context len="1308" hash="1780030711"/>
      </ac:txMk>
    </ac:txMkLst>
    <p188:pos x="11336236" y="2470785"/>
    <p188:txBody>
      <a:bodyPr/>
      <a:lstStyle/>
      <a:p>
        <a:r>
          <a:rPr lang="en-GB"/>
          <a:t>Yes and # session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625DEF87-78CF-4C57-A0B1-A9406068048C}" type="datetimeFigureOut">
              <a:rPr lang="en-US" smtClean="0"/>
              <a:t>7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5"/>
          </a:xfrm>
          <a:prstGeom prst="rect">
            <a:avLst/>
          </a:prstGeom>
        </p:spPr>
        <p:txBody>
          <a:bodyPr vert="horz" lIns="94640" tIns="47320" rIns="94640" bIns="47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49E0EA7B-6822-4EC8-8C65-EACC542A1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591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JP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E0EA7B-6822-4EC8-8C65-EACC542A139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988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DB620F-9065-4E0D-8D9D-4F204AB69C9B}" type="slidenum">
              <a:rPr kumimoji="1" lang="ja-JP" altLang="en-US" smtClean="0"/>
              <a:pPr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41178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4936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1100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245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3362752"/>
            <a:ext cx="2251710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93464281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-5494"/>
            <a:ext cx="6024384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541372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678310869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766004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6961" y="1093767"/>
            <a:ext cx="4069500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334C6D4B-D00D-0346-BC97-8DCE371C2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766004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49" y="1093767"/>
            <a:ext cx="766004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551311237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708" y="-1378"/>
            <a:ext cx="4076946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7368878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766004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766004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90663235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10737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/>
              <a:t>Insert Picture/Text Block</a:t>
            </a:r>
          </a:p>
          <a:p>
            <a:endParaRPr lang="en-JP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11373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44494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77615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</a:p>
          <a:p>
            <a:endParaRPr lang="en-US"/>
          </a:p>
          <a:p>
            <a:endParaRPr lang="en-JP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47FD433F-488A-9D46-BDF0-87D0F082A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JP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0411404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1157162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pic>
        <p:nvPicPr>
          <p:cNvPr id="11" name="Picture 10" descr="Takeda">
            <a:extLst>
              <a:ext uri="{FF2B5EF4-FFF2-40B4-BE49-F238E27FC236}">
                <a16:creationId xmlns:a16="http://schemas.microsoft.com/office/drawing/2014/main" id="{7EBA21A8-EE4B-6E4B-A794-3FEA5B1599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354790208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227225" y="1093767"/>
            <a:ext cx="7653625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pic>
        <p:nvPicPr>
          <p:cNvPr id="12" name="Picture 11" descr="Takeda">
            <a:extLst>
              <a:ext uri="{FF2B5EF4-FFF2-40B4-BE49-F238E27FC236}">
                <a16:creationId xmlns:a16="http://schemas.microsoft.com/office/drawing/2014/main" id="{5D7AA9CA-E651-9E48-B0F3-BDDA45B353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822941942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6206170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pic>
        <p:nvPicPr>
          <p:cNvPr id="10" name="Picture 9" descr="Takeda">
            <a:extLst>
              <a:ext uri="{FF2B5EF4-FFF2-40B4-BE49-F238E27FC236}">
                <a16:creationId xmlns:a16="http://schemas.microsoft.com/office/drawing/2014/main" id="{F183604A-2112-D443-8B35-2DFEE7121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60366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149" y="1093767"/>
            <a:ext cx="1160366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161561364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4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217095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8123041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/>
              <a:t>Insert Chart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0C4979BF-EBB2-214C-8087-7AC4B2163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78292908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rgbClr val="EE1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>
                <a:solidFill>
                  <a:schemeClr val="accent2"/>
                </a:solidFill>
              </a:rPr>
              <a:t>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395580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1809000"/>
            <a:ext cx="143339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DC05B3CA-A6F7-8145-9B22-43DDCC3312F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84127" y="6454777"/>
            <a:ext cx="7788021" cy="266700"/>
          </a:xfrm>
        </p:spPr>
        <p:txBody>
          <a:bodyPr lIns="0"/>
          <a:lstStyle/>
          <a:p>
            <a:r>
              <a:rPr lang="en-US" altLang="ja-JP"/>
              <a:t>Confidential - for internal use only</a:t>
            </a:r>
            <a:endParaRPr lang="ja-JP" altLang="en-US"/>
          </a:p>
        </p:txBody>
      </p:sp>
      <p:pic>
        <p:nvPicPr>
          <p:cNvPr id="10" name="Picture 9" descr="Takeda_Logo_Pos_RGB.emf">
            <a:extLst>
              <a:ext uri="{FF2B5EF4-FFF2-40B4-BE49-F238E27FC236}">
                <a16:creationId xmlns:a16="http://schemas.microsoft.com/office/drawing/2014/main" id="{1DA6428C-D5E6-E84F-A565-2DEE46879F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7159" y="458887"/>
            <a:ext cx="1363972" cy="457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34D977E-B6DB-4F99-98E8-3F0350652E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B3ACA12-C3B7-4D74-99FA-CC8E193A57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136525"/>
            <a:ext cx="11125200" cy="688975"/>
          </a:xfr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kumimoji="1" lang="en-US" sz="2800" b="1" kern="1200" baseline="0" dirty="0" smtClean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20009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F83AE827-0C93-0344-8F1E-82C9D7F8CD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417" y="-10972"/>
            <a:ext cx="2251710" cy="12488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19044E-3CA3-8043-AF11-ED42DE4ECF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730" y="6367253"/>
            <a:ext cx="1958578" cy="11746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4074573485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>
            <a:normAutofit/>
          </a:bodyPr>
          <a:lstStyle>
            <a:lvl1pPr marL="0" indent="0">
              <a:buClr>
                <a:srgbClr val="4C4948"/>
              </a:buClr>
              <a:buNone/>
              <a:defRPr sz="2000">
                <a:solidFill>
                  <a:schemeClr val="accent2"/>
                </a:solidFill>
              </a:defRPr>
            </a:lvl1pPr>
            <a:lvl2pPr marL="457200" indent="0">
              <a:buClr>
                <a:srgbClr val="4C4948"/>
              </a:buClr>
              <a:buNone/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6288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775254"/>
            <a:ext cx="11125199" cy="626165"/>
          </a:xfrm>
        </p:spPr>
        <p:txBody>
          <a:bodyPr>
            <a:normAutofit/>
          </a:bodyPr>
          <a:lstStyle>
            <a:lvl1pPr marL="0" indent="0">
              <a:buClr>
                <a:srgbClr val="4C4948"/>
              </a:buClr>
              <a:buNone/>
              <a:defRPr sz="2000">
                <a:solidFill>
                  <a:schemeClr val="accent2"/>
                </a:solidFill>
              </a:defRPr>
            </a:lvl1pPr>
            <a:lvl2pPr marL="457200" indent="0">
              <a:buClr>
                <a:srgbClr val="4C4948"/>
              </a:buClr>
              <a:buNone/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570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 marL="0" indent="0">
              <a:buClr>
                <a:srgbClr val="4C4948"/>
              </a:buClr>
              <a:buNone/>
              <a:defRPr sz="2600" baseline="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>
              <a:buClr>
                <a:srgbClr val="4C4948"/>
              </a:buClr>
              <a:defRPr sz="1800" baseline="0">
                <a:solidFill>
                  <a:srgbClr val="231815"/>
                </a:solidFill>
                <a:latin typeface="Calibri" pitchFamily="34" charset="0"/>
                <a:cs typeface="Calibri" pitchFamily="34" charset="0"/>
              </a:defRPr>
            </a:lvl2pPr>
            <a:lvl3pPr>
              <a:buClr>
                <a:srgbClr val="4C4948"/>
              </a:buClr>
              <a:defRPr sz="1600" baseline="0">
                <a:solidFill>
                  <a:srgbClr val="231815"/>
                </a:solidFill>
                <a:latin typeface="Calibri" pitchFamily="34" charset="0"/>
                <a:cs typeface="Calibri" pitchFamily="34" charset="0"/>
              </a:defRPr>
            </a:lvl3pPr>
            <a:lvl4pPr>
              <a:buClr>
                <a:srgbClr val="4C4948"/>
              </a:buClr>
              <a:defRPr sz="1400" baseline="0">
                <a:solidFill>
                  <a:srgbClr val="231815"/>
                </a:solidFill>
                <a:latin typeface="Calibri" pitchFamily="34" charset="0"/>
                <a:cs typeface="Calibri" pitchFamily="34" charset="0"/>
              </a:defRPr>
            </a:lvl4pPr>
            <a:lvl5pPr>
              <a:buClr>
                <a:srgbClr val="4C4948"/>
              </a:buClr>
              <a:defRPr sz="1400" baseline="0">
                <a:solidFill>
                  <a:srgbClr val="231815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/>
              <a:t>Click to add text or click an icon to add other content</a:t>
            </a:r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14">
            <a:extLst>
              <a:ext uri="{FF2B5EF4-FFF2-40B4-BE49-F238E27FC236}">
                <a16:creationId xmlns:a16="http://schemas.microsoft.com/office/drawing/2014/main" id="{ACC062CD-A904-0F41-8348-B090B7D80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1" y="132770"/>
            <a:ext cx="11137568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B388F9-D106-1642-996A-EBE58E4DDD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7243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sz="half" idx="1" hasCustomPrompt="1"/>
          </p:nvPr>
        </p:nvSpPr>
        <p:spPr>
          <a:xfrm>
            <a:off x="539752" y="1235894"/>
            <a:ext cx="5454649" cy="4929410"/>
          </a:xfrm>
        </p:spPr>
        <p:txBody>
          <a:bodyPr/>
          <a:lstStyle>
            <a:lvl1pPr>
              <a:defRPr sz="26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22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20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18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 hasCustomPrompt="1"/>
          </p:nvPr>
        </p:nvSpPr>
        <p:spPr>
          <a:xfrm>
            <a:off x="6197600" y="1235892"/>
            <a:ext cx="5467019" cy="4929412"/>
          </a:xfrm>
        </p:spPr>
        <p:txBody>
          <a:bodyPr/>
          <a:lstStyle>
            <a:lvl1pPr>
              <a:defRPr sz="26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24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22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20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18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4">
            <a:extLst>
              <a:ext uri="{FF2B5EF4-FFF2-40B4-BE49-F238E27FC236}">
                <a16:creationId xmlns:a16="http://schemas.microsoft.com/office/drawing/2014/main" id="{57096C63-B0AC-AC4D-857F-CDD8F0A21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1" y="132770"/>
            <a:ext cx="11137568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14E6A9-EBF6-9F4E-AEB7-56348234318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5080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 2"/>
          <p:cNvSpPr>
            <a:spLocks noGrp="1"/>
          </p:cNvSpPr>
          <p:nvPr>
            <p:ph type="body" idx="1" hasCustomPrompt="1"/>
          </p:nvPr>
        </p:nvSpPr>
        <p:spPr>
          <a:xfrm>
            <a:off x="539751" y="1228726"/>
            <a:ext cx="5456767" cy="472083"/>
          </a:xfrm>
        </p:spPr>
        <p:txBody>
          <a:bodyPr anchor="b">
            <a:noAutofit/>
          </a:bodyPr>
          <a:lstStyle>
            <a:lvl1pPr marL="0" indent="0">
              <a:buNone/>
              <a:defRPr sz="2600" b="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 hasCustomPrompt="1"/>
          </p:nvPr>
        </p:nvSpPr>
        <p:spPr>
          <a:xfrm>
            <a:off x="539751" y="1772816"/>
            <a:ext cx="5456767" cy="4392488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2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20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16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1228726"/>
            <a:ext cx="5471252" cy="472083"/>
          </a:xfrm>
        </p:spPr>
        <p:txBody>
          <a:bodyPr anchor="b">
            <a:noAutofit/>
          </a:bodyPr>
          <a:lstStyle>
            <a:lvl1pPr marL="0" indent="0">
              <a:buNone/>
              <a:defRPr sz="2600" b="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 hasCustomPrompt="1"/>
          </p:nvPr>
        </p:nvSpPr>
        <p:spPr>
          <a:xfrm>
            <a:off x="6193367" y="1772816"/>
            <a:ext cx="5471252" cy="4392488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2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20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16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4">
            <a:extLst>
              <a:ext uri="{FF2B5EF4-FFF2-40B4-BE49-F238E27FC236}">
                <a16:creationId xmlns:a16="http://schemas.microsoft.com/office/drawing/2014/main" id="{2AEAB2BA-0225-6C49-9735-5058502EE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1" y="132770"/>
            <a:ext cx="11137568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C0007F-B06B-4B42-A27B-049BD253102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45860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4766734" y="1231900"/>
            <a:ext cx="6897885" cy="4933405"/>
          </a:xfrm>
        </p:spPr>
        <p:txBody>
          <a:bodyPr/>
          <a:lstStyle>
            <a:lvl1pPr>
              <a:defRPr sz="32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8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24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20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20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 hasCustomPrompt="1"/>
          </p:nvPr>
        </p:nvSpPr>
        <p:spPr>
          <a:xfrm>
            <a:off x="539752" y="2204864"/>
            <a:ext cx="4080933" cy="3960440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itle 14">
            <a:extLst>
              <a:ext uri="{FF2B5EF4-FFF2-40B4-BE49-F238E27FC236}">
                <a16:creationId xmlns:a16="http://schemas.microsoft.com/office/drawing/2014/main" id="{F2052808-34BC-E14D-8A29-763ED3A95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1" y="132770"/>
            <a:ext cx="11137568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D21A4D7-2764-734A-A756-906144E990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7052" y="1235199"/>
            <a:ext cx="4093633" cy="86360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C8E865-2AAC-9640-A405-7CCA1E600B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00863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図プレースホルダ 2"/>
          <p:cNvSpPr>
            <a:spLocks noGrp="1"/>
          </p:cNvSpPr>
          <p:nvPr>
            <p:ph type="pic" idx="1" hasCustomPrompt="1"/>
          </p:nvPr>
        </p:nvSpPr>
        <p:spPr>
          <a:xfrm>
            <a:off x="2389717" y="1152526"/>
            <a:ext cx="7315200" cy="3575049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1" lang="en-US" altLang="ja-JP"/>
              <a:t>Click icon to add an image</a:t>
            </a:r>
            <a:endParaRPr kumimoji="1"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solidFill>
                  <a:srgbClr val="23181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8244C5-0213-3545-8C47-FA08A2DEB8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717" y="4795483"/>
            <a:ext cx="7315200" cy="569913"/>
          </a:xfrm>
        </p:spPr>
        <p:txBody>
          <a:bodyPr anchor="b"/>
          <a:lstStyle>
            <a:lvl1pPr marL="0" indent="0">
              <a:buNone/>
              <a:defRPr sz="2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itle 14">
            <a:extLst>
              <a:ext uri="{FF2B5EF4-FFF2-40B4-BE49-F238E27FC236}">
                <a16:creationId xmlns:a16="http://schemas.microsoft.com/office/drawing/2014/main" id="{81322671-BD5E-2D4C-A363-9021C5ABC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1" y="132770"/>
            <a:ext cx="11137568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8A48C4-28BE-314C-BB30-B3739A57B0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1688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1" y="1228725"/>
            <a:ext cx="11124868" cy="4943475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14">
            <a:extLst>
              <a:ext uri="{FF2B5EF4-FFF2-40B4-BE49-F238E27FC236}">
                <a16:creationId xmlns:a16="http://schemas.microsoft.com/office/drawing/2014/main" id="{4A348098-88A5-2347-9507-66439A0C47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1" y="132770"/>
            <a:ext cx="11137568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C8147B-9844-5E42-8C56-C9B2ACC4BB5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261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5"/>
            <a:ext cx="8096249" cy="4943474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>
                <a:solidFill>
                  <a:schemeClr val="accent2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14">
            <a:extLst>
              <a:ext uri="{FF2B5EF4-FFF2-40B4-BE49-F238E27FC236}">
                <a16:creationId xmlns:a16="http://schemas.microsoft.com/office/drawing/2014/main" id="{F23A7477-D243-964A-9094-E928ACA8C0FB}"/>
              </a:ext>
            </a:extLst>
          </p:cNvPr>
          <p:cNvSpPr txBox="1">
            <a:spLocks/>
          </p:cNvSpPr>
          <p:nvPr/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rgbClr val="000000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r>
              <a:rPr lang="en-US" sz="2800">
                <a:solidFill>
                  <a:schemeClr val="accent2"/>
                </a:solidFill>
              </a:rPr>
              <a:t>Click to add title</a:t>
            </a:r>
          </a:p>
        </p:txBody>
      </p:sp>
      <p:sp>
        <p:nvSpPr>
          <p:cNvPr id="8" name="Vertical Text Placeholder 7">
            <a:extLst>
              <a:ext uri="{FF2B5EF4-FFF2-40B4-BE49-F238E27FC236}">
                <a16:creationId xmlns:a16="http://schemas.microsoft.com/office/drawing/2014/main" id="{F5A98A93-CEAD-E64D-834D-67A4778B9CED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>
            <a:off x="8879418" y="1244435"/>
            <a:ext cx="2785201" cy="4927765"/>
          </a:xfrm>
        </p:spPr>
        <p:txBody>
          <a:bodyPr vert="eaVert" anchor="ctr">
            <a:normAutofit/>
          </a:bodyPr>
          <a:lstStyle>
            <a:lvl1pPr marL="0" indent="0">
              <a:buNone/>
              <a:defRPr sz="2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FD9F82-5BC9-314E-8625-B5C14CBC2DE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5381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5751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19C41-2A79-B54D-9C44-C619DA69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2794BD-1A0D-7D48-855D-469111926B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-8600"/>
            <a:ext cx="2251710" cy="12488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661019747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00">
                <a:solidFill>
                  <a:srgbClr val="007CC5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27025" y="9"/>
            <a:ext cx="10744199" cy="10287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627024" y="1387293"/>
            <a:ext cx="10744200" cy="44518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7945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D800ED-CB1B-4EBC-A0D2-2190AF4D88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4300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63F7635-4193-4751-A713-89E52A225C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585" y="1"/>
            <a:ext cx="12199585" cy="686226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923259" y="900005"/>
            <a:ext cx="10735351" cy="1300673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ample Title Slide Blu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3254" y="3233747"/>
            <a:ext cx="5172753" cy="233492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342838" indent="0" algn="ctr">
              <a:buNone/>
              <a:defRPr sz="1499"/>
            </a:lvl2pPr>
            <a:lvl3pPr marL="685676" indent="0" algn="ctr">
              <a:buNone/>
              <a:defRPr sz="1352"/>
            </a:lvl3pPr>
            <a:lvl4pPr marL="1028514" indent="0" algn="ctr">
              <a:buNone/>
              <a:defRPr sz="1200"/>
            </a:lvl4pPr>
            <a:lvl5pPr marL="1371352" indent="0" algn="ctr">
              <a:buNone/>
              <a:defRPr sz="1200"/>
            </a:lvl5pPr>
            <a:lvl6pPr marL="1714188" indent="0" algn="ctr">
              <a:buNone/>
              <a:defRPr sz="1200"/>
            </a:lvl6pPr>
            <a:lvl7pPr marL="2057026" indent="0" algn="ctr">
              <a:buNone/>
              <a:defRPr sz="1200"/>
            </a:lvl7pPr>
            <a:lvl8pPr marL="2399861" indent="0" algn="ctr">
              <a:buNone/>
              <a:defRPr sz="1200"/>
            </a:lvl8pPr>
            <a:lvl9pPr marL="2742699" indent="0" algn="ctr">
              <a:buNone/>
              <a:defRPr sz="1200"/>
            </a:lvl9pPr>
          </a:lstStyle>
          <a:p>
            <a:r>
              <a:rPr lang="en-US"/>
              <a:t>Date goes her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2604107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goes here</a:t>
            </a: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9A7D9E-D478-4F24-A9C9-211B0F6A2B41}"/>
              </a:ext>
            </a:extLst>
          </p:cNvPr>
          <p:cNvSpPr/>
          <p:nvPr userDrawn="1"/>
        </p:nvSpPr>
        <p:spPr>
          <a:xfrm>
            <a:off x="-7585" y="0"/>
            <a:ext cx="12199585" cy="6857999"/>
          </a:xfrm>
          <a:prstGeom prst="rect">
            <a:avLst/>
          </a:prstGeom>
          <a:solidFill>
            <a:srgbClr val="898989">
              <a:alpha val="60000"/>
            </a:srgb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1916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2674800"/>
            <a:ext cx="143339" cy="15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28" y="2674799"/>
            <a:ext cx="7793920" cy="1512001"/>
          </a:xfrm>
        </p:spPr>
        <p:txBody>
          <a:bodyPr wrap="square" tIns="0" rIns="0" bIns="0" anchor="ctr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Add your section title here</a:t>
            </a:r>
          </a:p>
        </p:txBody>
      </p:sp>
      <p:pic>
        <p:nvPicPr>
          <p:cNvPr id="8" name="Picture 12" descr="Takeda_Logo_Pos_RGB.emf">
            <a:extLst>
              <a:ext uri="{FF2B5EF4-FFF2-40B4-BE49-F238E27FC236}">
                <a16:creationId xmlns:a16="http://schemas.microsoft.com/office/drawing/2014/main" id="{1560E966-F000-3844-8319-54C2333D66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34211" y="311472"/>
            <a:ext cx="1030408" cy="34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フッター プレースホルダ 4">
            <a:extLst>
              <a:ext uri="{FF2B5EF4-FFF2-40B4-BE49-F238E27FC236}">
                <a16:creationId xmlns:a16="http://schemas.microsoft.com/office/drawing/2014/main" id="{DC933B19-358C-9644-A6A7-BD3B44E55D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8181" y="6331227"/>
            <a:ext cx="10556439" cy="390250"/>
          </a:xfrm>
          <a:prstGeom prst="rect">
            <a:avLst/>
          </a:prstGeom>
        </p:spPr>
        <p:txBody>
          <a:bodyPr vert="horz" lIns="90000" tIns="45720" rIns="0" bIns="45720" rtlCol="0" anchor="ctr"/>
          <a:lstStyle>
            <a:lvl1pPr algn="l">
              <a:defRPr sz="10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 altLang="ja-JP"/>
              <a:t>|  Title  |  DD/MM/YY  |  Confidential - for internal use only</a:t>
            </a:r>
            <a:endParaRPr lang="ja-JP" altLang="en-US"/>
          </a:p>
        </p:txBody>
      </p:sp>
      <p:sp>
        <p:nvSpPr>
          <p:cNvPr id="12" name="スライド番号プレースホルダ 5">
            <a:extLst>
              <a:ext uri="{FF2B5EF4-FFF2-40B4-BE49-F238E27FC236}">
                <a16:creationId xmlns:a16="http://schemas.microsoft.com/office/drawing/2014/main" id="{232D3E80-ACA2-0449-BC56-75B3E8B88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31227"/>
            <a:ext cx="1108180" cy="39024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475139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244091"/>
            <a:ext cx="11137900" cy="647550"/>
          </a:xfrm>
        </p:spPr>
        <p:txBody>
          <a:bodyPr anchor="t"/>
          <a:lstStyle>
            <a:lvl1pPr>
              <a:lnSpc>
                <a:spcPct val="80000"/>
              </a:lnSpc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1317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9790336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E3E91BD-C693-4743-AC28-2E4E7BFCCC1E}"/>
              </a:ext>
            </a:extLst>
          </p:cNvPr>
          <p:cNvGrpSpPr/>
          <p:nvPr userDrawn="1"/>
        </p:nvGrpSpPr>
        <p:grpSpPr>
          <a:xfrm>
            <a:off x="9379271" y="-506306"/>
            <a:ext cx="3058900" cy="2527095"/>
            <a:chOff x="7997027" y="2058522"/>
            <a:chExt cx="5426892" cy="4483399"/>
          </a:xfrm>
        </p:grpSpPr>
        <p:sp>
          <p:nvSpPr>
            <p:cNvPr id="5" name="Freeform: Shape 24">
              <a:extLst>
                <a:ext uri="{FF2B5EF4-FFF2-40B4-BE49-F238E27FC236}">
                  <a16:creationId xmlns:a16="http://schemas.microsoft.com/office/drawing/2014/main" id="{129A7322-8C55-904C-99CD-A5152F528891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7793859" y="2261690"/>
              <a:ext cx="2509456" cy="2103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5400" y="0"/>
                  </a:lnTo>
                  <a:lnTo>
                    <a:pt x="0" y="10800"/>
                  </a:lnTo>
                  <a:lnTo>
                    <a:pt x="5400" y="216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</a:pathLst>
            </a:custGeom>
            <a:noFill/>
            <a:ln w="9525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6" name="Freeform: Shape 24">
              <a:extLst>
                <a:ext uri="{FF2B5EF4-FFF2-40B4-BE49-F238E27FC236}">
                  <a16:creationId xmlns:a16="http://schemas.microsoft.com/office/drawing/2014/main" id="{D8D6B5EF-E245-6C45-9BAA-FE4E739FAE6D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0000031" y="2261690"/>
              <a:ext cx="2509456" cy="2103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5400" y="0"/>
                  </a:lnTo>
                  <a:lnTo>
                    <a:pt x="0" y="10800"/>
                  </a:lnTo>
                  <a:lnTo>
                    <a:pt x="5400" y="216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</a:pathLst>
            </a:custGeom>
            <a:noFill/>
            <a:ln w="9525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7" name="Freeform: Shape 24">
              <a:extLst>
                <a:ext uri="{FF2B5EF4-FFF2-40B4-BE49-F238E27FC236}">
                  <a16:creationId xmlns:a16="http://schemas.microsoft.com/office/drawing/2014/main" id="{1D25CE66-8A9B-F642-BAC0-AB7F6CD8B86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1117631" y="4235633"/>
              <a:ext cx="2509456" cy="2103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5400" y="0"/>
                  </a:lnTo>
                  <a:lnTo>
                    <a:pt x="0" y="10800"/>
                  </a:lnTo>
                  <a:lnTo>
                    <a:pt x="5400" y="216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</a:pathLst>
            </a:custGeom>
            <a:noFill/>
            <a:ln w="9525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4">
            <a:extLst>
              <a:ext uri="{FF2B5EF4-FFF2-40B4-BE49-F238E27FC236}">
                <a16:creationId xmlns:a16="http://schemas.microsoft.com/office/drawing/2014/main" id="{61533B72-B0B2-AD4B-8872-5493494A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244091"/>
            <a:ext cx="8593199" cy="647550"/>
          </a:xfrm>
        </p:spPr>
        <p:txBody>
          <a:bodyPr anchor="t"/>
          <a:lstStyle>
            <a:lvl1pPr>
              <a:lnSpc>
                <a:spcPct val="80000"/>
              </a:lnSpc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378135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4EE61B-12DE-8447-8C19-CE23723182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9750" y="1236663"/>
            <a:ext cx="11125200" cy="1901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501861-C41A-B24C-8A49-EA5CFAAB07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000"/>
            <a:ext cx="12192000" cy="3429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4E228-5ED0-3A4D-81D2-E04F98ACD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04277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298477-0A04-4993-AE06-CE1479603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200BE-1F11-45A2-A995-750291D9EC3E}" type="datetimeFigureOut">
              <a:rPr lang="en-US" smtClean="0"/>
              <a:t>7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D17A1B-3AE6-4015-99FD-C26B7D8B4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3A225A-2B97-4941-A779-D51EC4968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8E8FDE-E109-466E-8134-E4AC8B7391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11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851679422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208037409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42541" y="-1"/>
            <a:ext cx="5565823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334128149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371959"/>
            <a:ext cx="11591925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3000"/>
            </a:lvl1pPr>
          </a:lstStyle>
          <a:p>
            <a:pPr lvl="0"/>
            <a:r>
              <a:rPr lang="en-US"/>
              <a:t>Blank slide</a:t>
            </a:r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3226569479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3726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9967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0E2D4ABB-BC5B-754B-B0DE-676246A385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306322833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10743" y="1093767"/>
            <a:ext cx="7988356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1397373C-4723-444D-99E3-0FBCAFDAD4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848965478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heme" Target="../theme/theme2.xml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489701"/>
            <a:ext cx="41148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489701"/>
            <a:ext cx="589856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83548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0" r:id="rId2"/>
    <p:sldLayoutId id="2147483989" r:id="rId3"/>
    <p:sldLayoutId id="2147483986" r:id="rId4"/>
    <p:sldLayoutId id="2147483987" r:id="rId5"/>
    <p:sldLayoutId id="2147483961" r:id="rId6"/>
    <p:sldLayoutId id="2147483988" r:id="rId7"/>
    <p:sldLayoutId id="2147483920" r:id="rId8"/>
    <p:sldLayoutId id="2147483922" r:id="rId9"/>
    <p:sldLayoutId id="2147483930" r:id="rId10"/>
    <p:sldLayoutId id="2147483924" r:id="rId11"/>
    <p:sldLayoutId id="2147483931" r:id="rId12"/>
    <p:sldLayoutId id="2147483925" r:id="rId13"/>
    <p:sldLayoutId id="2147483926" r:id="rId14"/>
    <p:sldLayoutId id="2147483927" r:id="rId15"/>
    <p:sldLayoutId id="2147483928" r:id="rId16"/>
    <p:sldLayoutId id="2147483929" r:id="rId17"/>
  </p:sldLayoutIdLst>
  <p:transition spd="slow">
    <p:push dir="u"/>
  </p:transition>
  <p:hf hdr="0" dt="0"/>
  <p:txStyles>
    <p:titleStyle>
      <a:lvl1pPr algn="l" defTabSz="91415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457071" indent="-457071" algn="l" defTabSz="91415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742745" indent="-285677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114269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59976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2056831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2513910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1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42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2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pos="7491" userDrawn="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orient="horz" pos="40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25AF5CF-E943-43B9-80B9-921FD619AF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515374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1" imgH="472" progId="TCLayout.ActiveDocument.1">
                  <p:embed/>
                </p:oleObj>
              </mc:Choice>
              <mc:Fallback>
                <p:oleObj name="think-cell Slide" r:id="rId25" imgW="471" imgH="4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25AF5CF-E943-43B9-80B9-921FD619A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55F48-2724-4766-B376-4753322AE1A4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14611" y="6537948"/>
            <a:ext cx="2848711" cy="170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2DAC4898-15C2-4F9A-A4BA-5D85049659F6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/>
        </p:nvSpPr>
        <p:spPr>
          <a:xfrm>
            <a:off x="0" y="134939"/>
            <a:ext cx="143339" cy="701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01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  <p:sldLayoutId id="2147484005" r:id="rId15"/>
    <p:sldLayoutId id="2147484006" r:id="rId16"/>
    <p:sldLayoutId id="2147484007" r:id="rId17"/>
    <p:sldLayoutId id="2147484008" r:id="rId18"/>
    <p:sldLayoutId id="2147484009" r:id="rId19"/>
    <p:sldLayoutId id="2147484010" r:id="rId20"/>
    <p:sldLayoutId id="2147484011" r:id="rId21"/>
  </p:sldLayoutIdLst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F64A5C_D428FDCB.xm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64A62_3712A59F.xml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microsoft.com/office/2018/10/relationships/comments" Target="../comments/modernComment_7FF64A5E_125D9ED9.xml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microsoft.com/office/2018/10/relationships/comments" Target="../comments/modernComment_7FF64A5F_8D204AEB.xml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microsoft.com/office/2018/10/relationships/comments" Target="../comments/modernComment_7FF64A61_2D3D8E1E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microsoft.com/office/2018/10/relationships/comments" Target="../comments/modernComment_7FF64A5B_DDA87059.xml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mytakeda.sharepoint.com/:i:/r/sites/GEMINSIGHTSANDANALYTICS/Shared%20Documents/Data/CDP/CX%20Data%20Hub/Matomo/01%20Data%20Models/Matomo.drawio.png?csf=1&amp;web=1&amp;e=ZRCow8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021156-F368-D547-AC64-C8467A339D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4730" y="2303030"/>
            <a:ext cx="4354731" cy="2299792"/>
          </a:xfrm>
          <a:prstGeom prst="rect">
            <a:avLst/>
          </a:prstGeom>
        </p:spPr>
        <p:txBody>
          <a:bodyPr anchor="ctr" anchorCtr="0">
            <a:noAutofit/>
          </a:bodyPr>
          <a:lstStyle/>
          <a:p>
            <a:r>
              <a:rPr lang="en-GB" sz="4000" err="1"/>
              <a:t>Matomo</a:t>
            </a:r>
            <a:r>
              <a:rPr lang="en-GB" sz="4000"/>
              <a:t> in EDB</a:t>
            </a:r>
            <a:endParaRPr lang="en-JP" sz="4000"/>
          </a:p>
        </p:txBody>
      </p:sp>
      <p:pic>
        <p:nvPicPr>
          <p:cNvPr id="9" name="Picture Placeholder 8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75D1F468-3F0E-9D40-B570-01FB85995A8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/>
        </p:blipFill>
        <p:spPr/>
      </p:pic>
    </p:spTree>
    <p:extLst>
      <p:ext uri="{BB962C8B-B14F-4D97-AF65-F5344CB8AC3E}">
        <p14:creationId xmlns:p14="http://schemas.microsoft.com/office/powerpoint/2010/main" val="411416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15D79B-5CB5-9F2A-D26E-E5176231D50C}"/>
              </a:ext>
            </a:extLst>
          </p:cNvPr>
          <p:cNvSpPr txBox="1"/>
          <p:nvPr/>
        </p:nvSpPr>
        <p:spPr>
          <a:xfrm>
            <a:off x="645952" y="290263"/>
            <a:ext cx="11056690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/>
              <a:t>Basic Measures and data are now available in the model. (mostly count of session and Actions/events).</a:t>
            </a:r>
          </a:p>
          <a:p>
            <a:endParaRPr lang="en-GB" sz="1600"/>
          </a:p>
          <a:p>
            <a:r>
              <a:rPr lang="en-GB" sz="1600"/>
              <a:t>There are a few things that came up when modelling this basic version:</a:t>
            </a:r>
          </a:p>
          <a:p>
            <a:r>
              <a:rPr lang="en-GB" sz="1600"/>
              <a:t>•	The model was built on the assumption that there could be Sessions without Actions/events (and vice versa) – that is not the case currently. Meaning that upon confirmation with </a:t>
            </a:r>
            <a:r>
              <a:rPr lang="en-GB" sz="1600" err="1"/>
              <a:t>Matomo</a:t>
            </a:r>
            <a:r>
              <a:rPr lang="en-GB" sz="1600"/>
              <a:t> that there will be no Sessions without Actions/events we should model accordingly.</a:t>
            </a:r>
          </a:p>
          <a:p>
            <a:r>
              <a:rPr lang="en-GB" sz="1600"/>
              <a:t>•	Campaign currently in EDB is always “unknown”. This means that either:</a:t>
            </a:r>
          </a:p>
          <a:p>
            <a:r>
              <a:rPr lang="en-GB" sz="1600"/>
              <a:t>o	There is no link between SMILE Campaign and the site campaign – and product cannot be obtained from the campaign</a:t>
            </a:r>
          </a:p>
          <a:p>
            <a:r>
              <a:rPr lang="en-GB" sz="1600"/>
              <a:t>o	There is indirect link between both:</a:t>
            </a:r>
          </a:p>
          <a:p>
            <a:r>
              <a:rPr lang="en-GB" sz="1600"/>
              <a:t>	Mapping file needs to be build to link the campaigns</a:t>
            </a:r>
          </a:p>
          <a:p>
            <a:r>
              <a:rPr lang="en-GB" sz="1600"/>
              <a:t>	Sites campaign id needs to be built so that a link can be established</a:t>
            </a:r>
          </a:p>
          <a:p>
            <a:r>
              <a:rPr lang="en-GB" sz="1600"/>
              <a:t>•	There is no direct product association. This likely can be built based on the sites (for some) but surely multiple products can be looked at  in a given site and it will depend on the page/video/… </a:t>
            </a:r>
          </a:p>
          <a:p>
            <a:r>
              <a:rPr lang="en-GB" sz="1600"/>
              <a:t>•	</a:t>
            </a:r>
            <a:r>
              <a:rPr lang="en-GB" sz="1600" dirty="0">
                <a:solidFill>
                  <a:srgbClr val="FF0000"/>
                </a:solidFill>
              </a:rPr>
              <a:t>We need to understand what </a:t>
            </a:r>
            <a:r>
              <a:rPr lang="en-GB" sz="1600" dirty="0" err="1">
                <a:solidFill>
                  <a:srgbClr val="FF0000"/>
                </a:solidFill>
              </a:rPr>
              <a:t>timezone</a:t>
            </a:r>
            <a:r>
              <a:rPr lang="en-GB" sz="1600" dirty="0">
                <a:solidFill>
                  <a:srgbClr val="FF0000"/>
                </a:solidFill>
              </a:rPr>
              <a:t> the data is recorded in – this will likely depend on the site if not UTC for all. There is also a local time, but is likely not useful for most measures.</a:t>
            </a:r>
          </a:p>
          <a:p>
            <a:r>
              <a:rPr lang="en-GB" sz="1600" dirty="0">
                <a:solidFill>
                  <a:srgbClr val="FF0000"/>
                </a:solidFill>
              </a:rPr>
              <a:t>•	Data being considered currently the “Server Date Time” of each session. Other candidates include first and last action time - There are sessions that span multiple dates based on this.</a:t>
            </a:r>
          </a:p>
          <a:p>
            <a:r>
              <a:rPr lang="en-GB" sz="1600"/>
              <a:t>•	Candidates for excluding test:</a:t>
            </a:r>
          </a:p>
          <a:p>
            <a:r>
              <a:rPr lang="en-GB" sz="1600"/>
              <a:t>o	Some sites are dev/test</a:t>
            </a:r>
          </a:p>
          <a:p>
            <a:r>
              <a:rPr lang="en-GB" sz="1600"/>
              <a:t>o	Campaign Source has some “Test”</a:t>
            </a:r>
          </a:p>
          <a:p>
            <a:r>
              <a:rPr lang="en-GB" sz="1600"/>
              <a:t>o	Campaign Placement has </a:t>
            </a:r>
            <a:r>
              <a:rPr lang="en-GB" sz="1600" err="1"/>
              <a:t>takedatest</a:t>
            </a:r>
            <a:endParaRPr lang="en-GB" sz="1600"/>
          </a:p>
          <a:p>
            <a:r>
              <a:rPr lang="en-GB" sz="1600"/>
              <a:t>o	Campaign Group has some test</a:t>
            </a:r>
          </a:p>
          <a:p>
            <a:r>
              <a:rPr lang="en-GB" sz="1600"/>
              <a:t>•	There is no data identified as Ireland – Is this expected?</a:t>
            </a:r>
          </a:p>
          <a:p>
            <a:r>
              <a:rPr lang="en-GB" sz="1600"/>
              <a:t>•	We need to understand where is the Country coming from, if this is by site?</a:t>
            </a:r>
          </a:p>
          <a:p>
            <a:r>
              <a:rPr lang="en-GB" sz="1600"/>
              <a:t>•	There are very few Session linked to SMILE HCP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1C2BC8-868B-BC47-8417-CC716F62D5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0375" y="4911361"/>
            <a:ext cx="3700462" cy="9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5620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11E5F9B-C988-ADA0-3A2C-D12EB06AA043}"/>
              </a:ext>
            </a:extLst>
          </p:cNvPr>
          <p:cNvSpPr txBox="1"/>
          <p:nvPr/>
        </p:nvSpPr>
        <p:spPr>
          <a:xfrm>
            <a:off x="503339" y="377504"/>
            <a:ext cx="840018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/>
              <a:t>KPIs we would want to track in OCE Dashboard (All metrics with known HCPs)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FF73A8-B8B8-ECEE-A9B6-ECF5271128DD}"/>
              </a:ext>
            </a:extLst>
          </p:cNvPr>
          <p:cNvSpPr txBox="1"/>
          <p:nvPr/>
        </p:nvSpPr>
        <p:spPr>
          <a:xfrm>
            <a:off x="503339" y="948690"/>
            <a:ext cx="11601975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u="sng"/>
              <a:t>Re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Create Web as a channel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# of known HCPs reached and # Reaches with known HC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cquisition with breakdown of </a:t>
            </a:r>
            <a:r>
              <a:rPr lang="en-GB" sz="1600" err="1"/>
              <a:t>mtm_parameters</a:t>
            </a:r>
            <a:r>
              <a:rPr lang="en-GB" sz="1600"/>
              <a:t> (source, medium,  campaign, content) and </a:t>
            </a:r>
            <a:r>
              <a:rPr lang="en-GB" sz="1600">
                <a:solidFill>
                  <a:srgbClr val="C00000"/>
                </a:solidFill>
              </a:rPr>
              <a:t>Metrics detailed in </a:t>
            </a:r>
          </a:p>
          <a:p>
            <a:r>
              <a:rPr lang="en-GB" sz="1600">
                <a:solidFill>
                  <a:srgbClr val="C00000"/>
                </a:solidFill>
              </a:rPr>
              <a:t>“Acquisition” slide 13</a:t>
            </a:r>
          </a:p>
          <a:p>
            <a:endParaRPr lang="en-GB" sz="1600"/>
          </a:p>
          <a:p>
            <a:r>
              <a:rPr lang="en-GB" sz="1600" b="1" u="sng"/>
              <a:t>Eng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By Channel. </a:t>
            </a:r>
            <a:r>
              <a:rPr lang="en-GB" sz="1600">
                <a:solidFill>
                  <a:srgbClr val="C00000"/>
                </a:solidFill>
              </a:rPr>
              <a:t>Metrics detailed in “Behaviour slide” slide 1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b="1"/>
          </a:p>
          <a:p>
            <a:r>
              <a:rPr lang="en-GB" sz="1600" b="1" u="sng"/>
              <a:t>Conversion (Goals and Premium Engagement- </a:t>
            </a:r>
            <a:r>
              <a:rPr lang="en-GB" sz="1600" i="1" u="sng">
                <a:solidFill>
                  <a:srgbClr val="C00000"/>
                </a:solidFill>
              </a:rPr>
              <a:t>both in “Goal Name” table</a:t>
            </a:r>
            <a:r>
              <a:rPr lang="en-GB" sz="1600" b="1" u="sng"/>
              <a:t>) </a:t>
            </a:r>
            <a:r>
              <a:rPr lang="en-GB" sz="1600" i="1" u="sng">
                <a:solidFill>
                  <a:srgbClr val="C00000"/>
                </a:solidFill>
              </a:rPr>
              <a:t>Is the measure “#</a:t>
            </a:r>
            <a:r>
              <a:rPr lang="en-GB" sz="1600" i="1" u="sng" err="1">
                <a:solidFill>
                  <a:srgbClr val="C00000"/>
                </a:solidFill>
              </a:rPr>
              <a:t>Matomo</a:t>
            </a:r>
            <a:r>
              <a:rPr lang="en-GB" sz="1600" i="1" u="sng">
                <a:solidFill>
                  <a:srgbClr val="C00000"/>
                </a:solidFill>
              </a:rPr>
              <a:t> Actions &amp; Events”</a:t>
            </a:r>
            <a:r>
              <a:rPr lang="en-GB" sz="1600" i="1" u="sng" dirty="0">
                <a:solidFill>
                  <a:srgbClr val="C00000"/>
                </a:solidFill>
              </a:rPr>
              <a:t> linked to goals?</a:t>
            </a:r>
            <a:endParaRPr lang="en-GB" sz="1600" b="1" u="sng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# and % Takeda ID registrations + no consent. Can we identify this metric and # that actually successfully registered and ended up in SMILE with Takeda ID? Or does Takeda ID automatically get generated regardless of whether HCP becomes a lead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sign up&gt;matched in SMIL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sign up&gt;lead&gt;matched in SMILE</a:t>
            </a:r>
          </a:p>
          <a:p>
            <a:pPr lvl="1"/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# and % Successful Takeda ID registrations + consent. Can we identify this metric and </a:t>
            </a:r>
            <a:r>
              <a:rPr lang="en-GB" sz="1600" u="sng"/>
              <a:t>new </a:t>
            </a:r>
            <a:r>
              <a:rPr lang="en-GB" sz="1600"/>
              <a:t>signups and </a:t>
            </a:r>
            <a:r>
              <a:rPr lang="en-GB" sz="1600" u="sng"/>
              <a:t>new</a:t>
            </a:r>
            <a:r>
              <a:rPr lang="en-GB" sz="1600"/>
              <a:t> consent that ended up in SMILE (someone could sign up and click to consent, but might already have consent in SMILE &gt; will not result in new consent)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sign up&gt;matched in SMILE + cons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sign up&gt;lead&gt;matched in SMILE + consent</a:t>
            </a:r>
          </a:p>
          <a:p>
            <a:pPr lvl="1"/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# and % successful event signups </a:t>
            </a:r>
            <a:r>
              <a:rPr lang="en-GB" sz="1600" i="1"/>
              <a:t>(where applic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# and % successful completion of form </a:t>
            </a:r>
            <a:r>
              <a:rPr lang="en-GB" sz="1600" err="1"/>
              <a:t>ie</a:t>
            </a:r>
            <a:r>
              <a:rPr lang="en-GB" sz="1600"/>
              <a:t> request call back </a:t>
            </a:r>
            <a:r>
              <a:rPr lang="en-GB" sz="1600" i="1"/>
              <a:t>(where applicable) </a:t>
            </a:r>
            <a:r>
              <a:rPr lang="en-GB" sz="1600"/>
              <a:t>Forms table exists</a:t>
            </a:r>
            <a:endParaRPr lang="en-GB" sz="1600" i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Other conversions specific to the websites: </a:t>
            </a:r>
            <a:r>
              <a:rPr lang="en-GB" sz="1600" err="1"/>
              <a:t>I.e</a:t>
            </a:r>
            <a:r>
              <a:rPr lang="en-GB" sz="1600"/>
              <a:t> Uncover Dengue- country clicks, fact sheet downloa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BC7BE6D-DAB3-8B26-C319-985B13BD9965}"/>
              </a:ext>
            </a:extLst>
          </p:cNvPr>
          <p:cNvSpPr txBox="1"/>
          <p:nvPr/>
        </p:nvSpPr>
        <p:spPr>
          <a:xfrm>
            <a:off x="4703431" y="853814"/>
            <a:ext cx="6753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ighlight>
                  <a:srgbClr val="FFFF00"/>
                </a:highlight>
              </a:rPr>
              <a:t>How do we link to filters? Target filter, segmentation filter, channel etc</a:t>
            </a:r>
          </a:p>
        </p:txBody>
      </p:sp>
    </p:spTree>
    <p:extLst>
      <p:ext uri="{BB962C8B-B14F-4D97-AF65-F5344CB8AC3E}">
        <p14:creationId xmlns:p14="http://schemas.microsoft.com/office/powerpoint/2010/main" val="92396892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FA4AAE9-AFDA-67BF-91EF-066829125397}"/>
              </a:ext>
            </a:extLst>
          </p:cNvPr>
          <p:cNvSpPr txBox="1"/>
          <p:nvPr/>
        </p:nvSpPr>
        <p:spPr>
          <a:xfrm>
            <a:off x="847201" y="937427"/>
            <a:ext cx="107038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URL field – Looks like we are getting other countries data, C user drives, dev pages? Example Uncover Dengue United Kingdom – GB, selected, </a:t>
            </a:r>
            <a:r>
              <a:rPr lang="en-GB" err="1"/>
              <a:t>urls</a:t>
            </a:r>
            <a:r>
              <a:rPr lang="en-GB"/>
              <a:t> include Spanish lin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04A6EE-8155-BFF4-1649-9212CF6A2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7111" y="2079124"/>
            <a:ext cx="8724025" cy="43575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16D0D42-39B5-AAC2-3BD0-E88961BA40D4}"/>
              </a:ext>
            </a:extLst>
          </p:cNvPr>
          <p:cNvSpPr txBox="1"/>
          <p:nvPr/>
        </p:nvSpPr>
        <p:spPr>
          <a:xfrm>
            <a:off x="1127121" y="1583758"/>
            <a:ext cx="8340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/>
              <a:t>Need to apply “Source Country Code” is GB – </a:t>
            </a:r>
            <a:r>
              <a:rPr lang="en-GB" dirty="0">
                <a:solidFill>
                  <a:srgbClr val="FF0000"/>
                </a:solidFill>
              </a:rPr>
              <a:t>Can other countries data be filtered out?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E17F35-4AD7-C009-6DA8-EA1531D0B80B}"/>
              </a:ext>
            </a:extLst>
          </p:cNvPr>
          <p:cNvSpPr txBox="1"/>
          <p:nvPr/>
        </p:nvSpPr>
        <p:spPr>
          <a:xfrm>
            <a:off x="352338" y="148645"/>
            <a:ext cx="1255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Site Nam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24C27E-53AD-F76D-616D-8C187173F835}"/>
              </a:ext>
            </a:extLst>
          </p:cNvPr>
          <p:cNvSpPr txBox="1"/>
          <p:nvPr/>
        </p:nvSpPr>
        <p:spPr>
          <a:xfrm>
            <a:off x="1917576" y="626727"/>
            <a:ext cx="8996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ighlight>
                  <a:srgbClr val="FFFF00"/>
                </a:highlight>
              </a:rPr>
              <a:t>Could we manually map the websites to the parent product?? – no RDH has multiple products</a:t>
            </a:r>
          </a:p>
        </p:txBody>
      </p:sp>
    </p:spTree>
    <p:extLst>
      <p:ext uri="{BB962C8B-B14F-4D97-AF65-F5344CB8AC3E}">
        <p14:creationId xmlns:p14="http://schemas.microsoft.com/office/powerpoint/2010/main" val="30812540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2E17F35-4AD7-C009-6DA8-EA1531D0B80B}"/>
              </a:ext>
            </a:extLst>
          </p:cNvPr>
          <p:cNvSpPr txBox="1"/>
          <p:nvPr/>
        </p:nvSpPr>
        <p:spPr>
          <a:xfrm>
            <a:off x="352338" y="148645"/>
            <a:ext cx="12538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Acquisi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76A952-80E0-2E84-1232-7C3A335FBB89}"/>
              </a:ext>
            </a:extLst>
          </p:cNvPr>
          <p:cNvSpPr txBox="1"/>
          <p:nvPr/>
        </p:nvSpPr>
        <p:spPr>
          <a:xfrm>
            <a:off x="637564" y="683513"/>
            <a:ext cx="105346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err="1"/>
              <a:t>Mtm_content</a:t>
            </a:r>
            <a:r>
              <a:rPr lang="en-GB"/>
              <a:t> parameter not available in EDB. </a:t>
            </a:r>
            <a:r>
              <a:rPr lang="en-GB" sz="14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hen you are testing multiple ads, and would include the name of each ad to see which was most effective for driving traffic</a:t>
            </a:r>
            <a:endParaRPr lang="en-GB" i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78DD92-9E3B-AF95-26D7-158B6E8A4DB9}"/>
              </a:ext>
            </a:extLst>
          </p:cNvPr>
          <p:cNvSpPr txBox="1"/>
          <p:nvPr/>
        </p:nvSpPr>
        <p:spPr>
          <a:xfrm>
            <a:off x="637564" y="1303710"/>
            <a:ext cx="1135869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Measures to be created by channel/referrer types (campaigns, direct, search, social, website) for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# Visits </a:t>
            </a:r>
            <a:r>
              <a:rPr lang="en-GB" sz="1400" i="1"/>
              <a:t>(Is this  # </a:t>
            </a:r>
            <a:r>
              <a:rPr lang="en-GB" sz="1400" i="1" err="1"/>
              <a:t>Matomo</a:t>
            </a:r>
            <a:r>
              <a:rPr lang="en-GB" sz="1400" i="1"/>
              <a:t> Session Distinct Visitors)</a:t>
            </a:r>
            <a:endParaRPr lang="en-GB" sz="140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#actions </a:t>
            </a:r>
            <a:r>
              <a:rPr lang="en-GB" sz="1400" i="1"/>
              <a:t>(Is this # </a:t>
            </a:r>
            <a:r>
              <a:rPr lang="en-GB" sz="1400" i="1" err="1"/>
              <a:t>Matomo</a:t>
            </a:r>
            <a:r>
              <a:rPr lang="en-GB" sz="1400" i="1"/>
              <a:t> Actions and Events)</a:t>
            </a:r>
            <a:endParaRPr lang="en-GB" sz="140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actions per visit avg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time on websi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bounce rate </a:t>
            </a:r>
            <a:r>
              <a:rPr lang="en-GB" sz="1400">
                <a:solidFill>
                  <a:srgbClr val="FF0000"/>
                </a:solidFill>
              </a:rPr>
              <a:t>(can’t see this in tables, is this available?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% and # conversions, goal completions. % goal completions – of those that end up on site, how many completed goals by channel (</a:t>
            </a:r>
            <a:r>
              <a:rPr lang="en-GB" sz="1400" err="1"/>
              <a:t>ie</a:t>
            </a:r>
            <a:r>
              <a:rPr lang="en-GB" sz="1400"/>
              <a:t> % from a specific campaign that completed Takeda ID registrations with consent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6458DE-0B01-8989-44C6-9E9988ECD5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3558" y="3119592"/>
            <a:ext cx="5113352" cy="27274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4EF051-4943-6799-96E8-B305D069530D}"/>
              </a:ext>
            </a:extLst>
          </p:cNvPr>
          <p:cNvSpPr txBox="1"/>
          <p:nvPr/>
        </p:nvSpPr>
        <p:spPr>
          <a:xfrm>
            <a:off x="6882904" y="4113998"/>
            <a:ext cx="2595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/>
              <a:t>Screenshot from </a:t>
            </a:r>
            <a:r>
              <a:rPr lang="en-GB" err="1"/>
              <a:t>Matomo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47C221-403B-83D9-ED42-6A44881FF7FE}"/>
              </a:ext>
            </a:extLst>
          </p:cNvPr>
          <p:cNvSpPr txBox="1"/>
          <p:nvPr/>
        </p:nvSpPr>
        <p:spPr>
          <a:xfrm>
            <a:off x="979272" y="5851321"/>
            <a:ext cx="110923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>
                <a:solidFill>
                  <a:srgbClr val="FF0000"/>
                </a:solidFill>
              </a:rPr>
              <a:t>How is # </a:t>
            </a:r>
            <a:r>
              <a:rPr lang="en-GB" err="1">
                <a:solidFill>
                  <a:srgbClr val="FF0000"/>
                </a:solidFill>
              </a:rPr>
              <a:t>Matomo</a:t>
            </a:r>
            <a:r>
              <a:rPr lang="en-GB">
                <a:solidFill>
                  <a:srgbClr val="FF0000"/>
                </a:solidFill>
              </a:rPr>
              <a:t> Session Distinct Visitors worked out? – If new session (user clears cookies), would they be counted</a:t>
            </a:r>
          </a:p>
          <a:p>
            <a:r>
              <a:rPr lang="en-GB">
                <a:solidFill>
                  <a:srgbClr val="FF0000"/>
                </a:solidFill>
              </a:rPr>
              <a:t>as new distinct visitor? Does it also include the # linked HCPs or is this only # unknown visitors (#linked HCPs + </a:t>
            </a:r>
          </a:p>
          <a:p>
            <a:r>
              <a:rPr lang="en-GB">
                <a:solidFill>
                  <a:srgbClr val="FF0000"/>
                </a:solidFill>
              </a:rPr>
              <a:t># unknown Visitors </a:t>
            </a:r>
            <a:r>
              <a:rPr lang="en-GB" u="sng">
                <a:solidFill>
                  <a:srgbClr val="FF0000"/>
                </a:solidFill>
              </a:rPr>
              <a:t>OR </a:t>
            </a:r>
            <a:r>
              <a:rPr lang="en-GB">
                <a:solidFill>
                  <a:srgbClr val="FF0000"/>
                </a:solidFill>
              </a:rPr>
              <a:t> #unknown visitors only?</a:t>
            </a:r>
          </a:p>
        </p:txBody>
      </p:sp>
    </p:spTree>
    <p:extLst>
      <p:ext uri="{BB962C8B-B14F-4D97-AF65-F5344CB8AC3E}">
        <p14:creationId xmlns:p14="http://schemas.microsoft.com/office/powerpoint/2010/main" val="236770378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2E17F35-4AD7-C009-6DA8-EA1531D0B80B}"/>
              </a:ext>
            </a:extLst>
          </p:cNvPr>
          <p:cNvSpPr txBox="1"/>
          <p:nvPr/>
        </p:nvSpPr>
        <p:spPr>
          <a:xfrm>
            <a:off x="352338" y="148645"/>
            <a:ext cx="11576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Behaviou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78DD92-9E3B-AF95-26D7-158B6E8A4DB9}"/>
              </a:ext>
            </a:extLst>
          </p:cNvPr>
          <p:cNvSpPr txBox="1"/>
          <p:nvPr/>
        </p:nvSpPr>
        <p:spPr>
          <a:xfrm>
            <a:off x="4591255" y="1081886"/>
            <a:ext cx="669505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Can we look at the following measures for each pag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# Visits </a:t>
            </a:r>
            <a:r>
              <a:rPr lang="en-GB" sz="1400" i="1"/>
              <a:t>(Is this  # </a:t>
            </a:r>
            <a:r>
              <a:rPr lang="en-GB" sz="1400" i="1" err="1"/>
              <a:t>Matomo</a:t>
            </a:r>
            <a:r>
              <a:rPr lang="en-GB" sz="1400" i="1"/>
              <a:t> Session Distinct Visitors)</a:t>
            </a:r>
            <a:endParaRPr lang="en-GB" sz="140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# page view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Average time of page </a:t>
            </a:r>
            <a:r>
              <a:rPr lang="en-GB" sz="1400">
                <a:solidFill>
                  <a:srgbClr val="FF0000"/>
                </a:solidFill>
              </a:rPr>
              <a:t>(“Time spent” doesn’t currently look like its linked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bounce rate </a:t>
            </a:r>
            <a:r>
              <a:rPr lang="en-GB" sz="1400">
                <a:solidFill>
                  <a:srgbClr val="FF0000"/>
                </a:solidFill>
              </a:rPr>
              <a:t>(can’t see this in tables, is this available?) </a:t>
            </a:r>
            <a:r>
              <a:rPr lang="en-GB" sz="1400"/>
              <a:t>- % that landed on this page and lef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#Event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Exit rate (% of visits that left after this pag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/>
              <a:t>% and # conversions, goal completions. % goal completions – of those that end up on site, how many completed goals by channel (</a:t>
            </a:r>
            <a:r>
              <a:rPr lang="en-GB" sz="1400" err="1"/>
              <a:t>ie</a:t>
            </a:r>
            <a:r>
              <a:rPr lang="en-GB" sz="1400"/>
              <a:t> % from a specific campaign that completed Takeda ID registrations with consen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4EF051-4943-6799-96E8-B305D069530D}"/>
              </a:ext>
            </a:extLst>
          </p:cNvPr>
          <p:cNvSpPr txBox="1"/>
          <p:nvPr/>
        </p:nvSpPr>
        <p:spPr>
          <a:xfrm>
            <a:off x="6875040" y="4732814"/>
            <a:ext cx="2595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/>
              <a:t>Screenshot from </a:t>
            </a:r>
            <a:r>
              <a:rPr lang="en-GB" err="1"/>
              <a:t>Matomo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3B5B66-E340-4A8F-A2BB-32C96AD1B6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415" y="693267"/>
            <a:ext cx="3302712" cy="28508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1AEEF6-0AE7-91C8-AFD8-B6E06398E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37" y="3910875"/>
            <a:ext cx="6229758" cy="238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25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2E17F35-4AD7-C009-6DA8-EA1531D0B80B}"/>
              </a:ext>
            </a:extLst>
          </p:cNvPr>
          <p:cNvSpPr txBox="1"/>
          <p:nvPr/>
        </p:nvSpPr>
        <p:spPr>
          <a:xfrm>
            <a:off x="352338" y="148645"/>
            <a:ext cx="35386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Behaviour – Events and Downloa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E7AA-17AD-C842-2E1F-7F74104DC8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1668" y="849477"/>
            <a:ext cx="6515100" cy="2438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9402C2-400B-DD55-4E2C-1320E06F1D0A}"/>
              </a:ext>
            </a:extLst>
          </p:cNvPr>
          <p:cNvSpPr txBox="1"/>
          <p:nvPr/>
        </p:nvSpPr>
        <p:spPr>
          <a:xfrm>
            <a:off x="668283" y="3692617"/>
            <a:ext cx="1127039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Can we show # events (linked, non-linked HCPs) by events (“event name”, category, action, type) that happened on </a:t>
            </a:r>
          </a:p>
          <a:p>
            <a:r>
              <a:rPr lang="en-GB"/>
              <a:t>each page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rgbClr val="FF0000"/>
                </a:solidFill>
              </a:rPr>
              <a:t>Is the definition of action and event the sa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rgbClr val="FF0000"/>
                </a:solidFill>
              </a:rPr>
              <a:t>What does “Media” table refer to, is this videos on the website? Is this linked to Brightcov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r>
              <a:rPr lang="en-GB" dirty="0">
                <a:solidFill>
                  <a:srgbClr val="FF0000"/>
                </a:solidFill>
                <a:highlight>
                  <a:srgbClr val="FFFF00"/>
                </a:highlight>
              </a:rPr>
              <a:t>Conversion page – by source, medium, campaig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B2582BA-2223-AB92-7C26-78C6E193A79C}"/>
              </a:ext>
            </a:extLst>
          </p:cNvPr>
          <p:cNvCxnSpPr/>
          <p:nvPr/>
        </p:nvCxnSpPr>
        <p:spPr>
          <a:xfrm>
            <a:off x="1947496" y="2743200"/>
            <a:ext cx="26125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A8BBD8F-DAD9-0E6B-895A-265E2C8CCE15}"/>
              </a:ext>
            </a:extLst>
          </p:cNvPr>
          <p:cNvSpPr txBox="1"/>
          <p:nvPr/>
        </p:nvSpPr>
        <p:spPr>
          <a:xfrm>
            <a:off x="561344" y="2558534"/>
            <a:ext cx="166334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/>
              <a:t>Event name</a:t>
            </a:r>
          </a:p>
          <a:p>
            <a:r>
              <a:rPr lang="en-GB" err="1"/>
              <a:t>Ie</a:t>
            </a:r>
            <a:r>
              <a:rPr lang="en-GB"/>
              <a:t> scroll 25%,</a:t>
            </a:r>
          </a:p>
          <a:p>
            <a:r>
              <a:rPr lang="en-GB"/>
              <a:t>Click, download</a:t>
            </a:r>
          </a:p>
        </p:txBody>
      </p:sp>
    </p:spTree>
    <p:extLst>
      <p:ext uri="{BB962C8B-B14F-4D97-AF65-F5344CB8AC3E}">
        <p14:creationId xmlns:p14="http://schemas.microsoft.com/office/powerpoint/2010/main" val="75900879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6F312-B18F-4AC1-A69F-0D90EC157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FF0000"/>
                </a:solidFill>
              </a:rPr>
              <a:t>CX Datahub Datase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40340D-CAC1-4E38-BF63-A9CB1F2BD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9084" y="994854"/>
            <a:ext cx="6243545" cy="478889"/>
          </a:xfrm>
        </p:spPr>
        <p:txBody>
          <a:bodyPr>
            <a:normAutofit fontScale="85000" lnSpcReduction="10000"/>
          </a:bodyPr>
          <a:lstStyle/>
          <a:p>
            <a:r>
              <a:rPr lang="en-US" sz="2400">
                <a:solidFill>
                  <a:schemeClr val="tx1"/>
                </a:solidFill>
              </a:rPr>
              <a:t>Following Datasets are available as part of CX Data Hub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C344C88-F464-4C27-A0A8-1A45EA045570}"/>
              </a:ext>
            </a:extLst>
          </p:cNvPr>
          <p:cNvSpPr/>
          <p:nvPr/>
        </p:nvSpPr>
        <p:spPr>
          <a:xfrm>
            <a:off x="2207128" y="1518869"/>
            <a:ext cx="2167847" cy="498889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5E20DBA-E000-422D-964D-0B5E54A0880C}"/>
              </a:ext>
            </a:extLst>
          </p:cNvPr>
          <p:cNvSpPr/>
          <p:nvPr/>
        </p:nvSpPr>
        <p:spPr>
          <a:xfrm>
            <a:off x="4578746" y="1534286"/>
            <a:ext cx="2167847" cy="498889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5E6355-2C9B-4D88-A623-C0E561E0037E}"/>
              </a:ext>
            </a:extLst>
          </p:cNvPr>
          <p:cNvSpPr txBox="1"/>
          <p:nvPr/>
        </p:nvSpPr>
        <p:spPr>
          <a:xfrm>
            <a:off x="2510687" y="2406751"/>
            <a:ext cx="162067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s conside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site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 lo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ss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 application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 lo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ss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ons</a:t>
            </a:r>
          </a:p>
        </p:txBody>
      </p:sp>
      <p:pic>
        <p:nvPicPr>
          <p:cNvPr id="1026" name="Picture 2" descr="Enterprise Online Survey Software &amp; Tools - Alchemer">
            <a:extLst>
              <a:ext uri="{FF2B5EF4-FFF2-40B4-BE49-F238E27FC236}">
                <a16:creationId xmlns:a16="http://schemas.microsoft.com/office/drawing/2014/main" id="{04AE0F98-1C18-2749-F37E-C009AB977C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690" y="1869994"/>
            <a:ext cx="1349735" cy="32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uides - Analytics Platform - Matomo">
            <a:extLst>
              <a:ext uri="{FF2B5EF4-FFF2-40B4-BE49-F238E27FC236}">
                <a16:creationId xmlns:a16="http://schemas.microsoft.com/office/drawing/2014/main" id="{70FD3A5D-D326-8DA6-AAD0-2385B6274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793" y="1640608"/>
            <a:ext cx="1436240" cy="70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DD2D90-DC83-2623-6D4E-9F938B153F3B}"/>
              </a:ext>
            </a:extLst>
          </p:cNvPr>
          <p:cNvSpPr txBox="1"/>
          <p:nvPr/>
        </p:nvSpPr>
        <p:spPr>
          <a:xfrm>
            <a:off x="4824373" y="2406751"/>
            <a:ext cx="17948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s considere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Survey ques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Survey respon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47A65C2-E466-70E0-B2DB-6DD52D3DA670}"/>
              </a:ext>
            </a:extLst>
          </p:cNvPr>
          <p:cNvSpPr/>
          <p:nvPr/>
        </p:nvSpPr>
        <p:spPr>
          <a:xfrm>
            <a:off x="6930052" y="1501628"/>
            <a:ext cx="2167847" cy="498889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5770EF-9AFF-41DD-B7AD-C1775DF7B945}"/>
              </a:ext>
            </a:extLst>
          </p:cNvPr>
          <p:cNvSpPr txBox="1"/>
          <p:nvPr/>
        </p:nvSpPr>
        <p:spPr>
          <a:xfrm>
            <a:off x="7175679" y="2374093"/>
            <a:ext cx="179489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s considere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Activ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Annotation keyword targe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Annotation keywo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Annotation keywords si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Campaig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Categor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Countr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CRM Produ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Document usa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Docu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Document vers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Document relationshi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Key messa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Link targ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Match text vari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Produ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2" descr="Veeva Vault Connector for Adobe, Figma, Google, Microsoft, Sketch, WordPress">
            <a:extLst>
              <a:ext uri="{FF2B5EF4-FFF2-40B4-BE49-F238E27FC236}">
                <a16:creationId xmlns:a16="http://schemas.microsoft.com/office/drawing/2014/main" id="{1633AD4D-7D58-56C0-28AC-B616780C9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2464" y="1663476"/>
            <a:ext cx="1596608" cy="705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E3B8619-481D-E190-86CF-6904B2D6A84A}"/>
              </a:ext>
            </a:extLst>
          </p:cNvPr>
          <p:cNvSpPr/>
          <p:nvPr/>
        </p:nvSpPr>
        <p:spPr>
          <a:xfrm>
            <a:off x="2063692" y="1384183"/>
            <a:ext cx="2456830" cy="534104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774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6F312-B18F-4AC1-A69F-0D90EC157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FF0000"/>
                </a:solidFill>
              </a:rPr>
              <a:t>KPI’s to be Achiev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40340D-CAC1-4E38-BF63-A9CB1F2BD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9084" y="994854"/>
            <a:ext cx="6243545" cy="478889"/>
          </a:xfrm>
        </p:spPr>
        <p:txBody>
          <a:bodyPr>
            <a:normAutofit fontScale="92500"/>
          </a:bodyPr>
          <a:lstStyle/>
          <a:p>
            <a:r>
              <a:rPr lang="en-US" sz="2400">
                <a:solidFill>
                  <a:schemeClr val="tx1"/>
                </a:solidFill>
              </a:rPr>
              <a:t>Following are the list of KPI’s for each channel data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9361EB-F864-4227-A030-5D4BF2ED476C}"/>
              </a:ext>
            </a:extLst>
          </p:cNvPr>
          <p:cNvSpPr/>
          <p:nvPr/>
        </p:nvSpPr>
        <p:spPr>
          <a:xfrm>
            <a:off x="3423119" y="1520577"/>
            <a:ext cx="2167847" cy="498889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C344C88-F464-4C27-A0A8-1A45EA045570}"/>
              </a:ext>
            </a:extLst>
          </p:cNvPr>
          <p:cNvSpPr/>
          <p:nvPr/>
        </p:nvSpPr>
        <p:spPr>
          <a:xfrm>
            <a:off x="5794737" y="1518869"/>
            <a:ext cx="2167847" cy="498889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69AF4F-4A7D-41CE-AC20-2DF22029FA1D}"/>
              </a:ext>
            </a:extLst>
          </p:cNvPr>
          <p:cNvSpPr txBox="1"/>
          <p:nvPr/>
        </p:nvSpPr>
        <p:spPr>
          <a:xfrm>
            <a:off x="3600864" y="2447847"/>
            <a:ext cx="19901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survey responses fill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survey responses filled for each chann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 survey response interaction ratio</a:t>
            </a:r>
          </a:p>
        </p:txBody>
      </p:sp>
      <p:pic>
        <p:nvPicPr>
          <p:cNvPr id="9" name="Picture 4" descr="Guides - Analytics Platform - Matomo">
            <a:extLst>
              <a:ext uri="{FF2B5EF4-FFF2-40B4-BE49-F238E27FC236}">
                <a16:creationId xmlns:a16="http://schemas.microsoft.com/office/drawing/2014/main" id="{5CF54547-2B51-69CF-5B2B-71C097A5E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0540" y="1631885"/>
            <a:ext cx="1436240" cy="70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60A493C-BE32-55C6-A0D9-952341A7311B}"/>
              </a:ext>
            </a:extLst>
          </p:cNvPr>
          <p:cNvSpPr txBox="1"/>
          <p:nvPr/>
        </p:nvSpPr>
        <p:spPr>
          <a:xfrm>
            <a:off x="5923808" y="2316784"/>
            <a:ext cx="190970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Visi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Visits in last 6 month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Visits in last 3 month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visito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t du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erage visit du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erage session du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total interac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interactions per sess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g. interactions per sess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erage time per session</a:t>
            </a:r>
          </a:p>
        </p:txBody>
      </p:sp>
      <p:pic>
        <p:nvPicPr>
          <p:cNvPr id="6" name="Picture 2" descr="Enterprise Online Survey Software &amp; Tools - Alchemer">
            <a:extLst>
              <a:ext uri="{FF2B5EF4-FFF2-40B4-BE49-F238E27FC236}">
                <a16:creationId xmlns:a16="http://schemas.microsoft.com/office/drawing/2014/main" id="{1355858A-DDD8-EAAD-4B0A-55ADFDA50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174" y="1918867"/>
            <a:ext cx="1349735" cy="32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FFAE11C-59C8-9827-83DA-B0254D98468A}"/>
              </a:ext>
            </a:extLst>
          </p:cNvPr>
          <p:cNvSpPr/>
          <p:nvPr/>
        </p:nvSpPr>
        <p:spPr>
          <a:xfrm>
            <a:off x="5650244" y="1384183"/>
            <a:ext cx="2456830" cy="534104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128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762A1E-127D-C34A-83F0-1D413552AD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>
                <a:solidFill>
                  <a:srgbClr val="FF0000"/>
                </a:solidFill>
              </a:rPr>
              <a:t>Matomo – Website Analyt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018C7B-2F7B-7F42-B07E-86EE03FB99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ja-JP"/>
              <a:t>|  Title  |  DD/MM/YY  |  Confidential - for internal use only</a:t>
            </a:r>
            <a:endParaRPr lang="ja-JP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40B1D2-C95F-124E-96BF-21D4977E88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12948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4">
            <a:extLst>
              <a:ext uri="{FF2B5EF4-FFF2-40B4-BE49-F238E27FC236}">
                <a16:creationId xmlns:a16="http://schemas.microsoft.com/office/drawing/2014/main" id="{915B3024-85A2-42E6-BCB9-ACD0E852383D}"/>
              </a:ext>
            </a:extLst>
          </p:cNvPr>
          <p:cNvSpPr txBox="1">
            <a:spLocks/>
          </p:cNvSpPr>
          <p:nvPr/>
        </p:nvSpPr>
        <p:spPr>
          <a:xfrm>
            <a:off x="11636829" y="6533523"/>
            <a:ext cx="304799" cy="2063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D08BF7-4E66-49A7-B65A-ED21CCDF426C}"/>
              </a:ext>
            </a:extLst>
          </p:cNvPr>
          <p:cNvSpPr txBox="1">
            <a:spLocks/>
          </p:cNvSpPr>
          <p:nvPr/>
        </p:nvSpPr>
        <p:spPr>
          <a:xfrm>
            <a:off x="485954" y="132770"/>
            <a:ext cx="11137900" cy="7039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 b="1">
                <a:solidFill>
                  <a:srgbClr val="FF0000"/>
                </a:solidFill>
              </a:rPr>
              <a:t>Dataset Details : Ingested (Lake Layer : Raw Data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BA2DD4-24DE-40D0-9DE8-5F0E02DC3461}"/>
              </a:ext>
            </a:extLst>
          </p:cNvPr>
          <p:cNvGraphicFramePr>
            <a:graphicFrameLocks noGrp="1"/>
          </p:cNvGraphicFramePr>
          <p:nvPr/>
        </p:nvGraphicFramePr>
        <p:xfrm>
          <a:off x="775504" y="896862"/>
          <a:ext cx="10613985" cy="1101967"/>
        </p:xfrm>
        <a:graphic>
          <a:graphicData uri="http://schemas.openxmlformats.org/drawingml/2006/table">
            <a:tbl>
              <a:tblPr firstRow="1" bandRow="1"/>
              <a:tblGrid>
                <a:gridCol w="706055">
                  <a:extLst>
                    <a:ext uri="{9D8B030D-6E8A-4147-A177-3AD203B41FA5}">
                      <a16:colId xmlns:a16="http://schemas.microsoft.com/office/drawing/2014/main" val="1695445936"/>
                    </a:ext>
                  </a:extLst>
                </a:gridCol>
                <a:gridCol w="1643302">
                  <a:extLst>
                    <a:ext uri="{9D8B030D-6E8A-4147-A177-3AD203B41FA5}">
                      <a16:colId xmlns:a16="http://schemas.microsoft.com/office/drawing/2014/main" val="1472719247"/>
                    </a:ext>
                  </a:extLst>
                </a:gridCol>
                <a:gridCol w="2533577">
                  <a:extLst>
                    <a:ext uri="{9D8B030D-6E8A-4147-A177-3AD203B41FA5}">
                      <a16:colId xmlns:a16="http://schemas.microsoft.com/office/drawing/2014/main" val="2362753401"/>
                    </a:ext>
                  </a:extLst>
                </a:gridCol>
                <a:gridCol w="1193888">
                  <a:extLst>
                    <a:ext uri="{9D8B030D-6E8A-4147-A177-3AD203B41FA5}">
                      <a16:colId xmlns:a16="http://schemas.microsoft.com/office/drawing/2014/main" val="1654782053"/>
                    </a:ext>
                  </a:extLst>
                </a:gridCol>
                <a:gridCol w="1989031">
                  <a:extLst>
                    <a:ext uri="{9D8B030D-6E8A-4147-A177-3AD203B41FA5}">
                      <a16:colId xmlns:a16="http://schemas.microsoft.com/office/drawing/2014/main" val="433888357"/>
                    </a:ext>
                  </a:extLst>
                </a:gridCol>
                <a:gridCol w="2548132">
                  <a:extLst>
                    <a:ext uri="{9D8B030D-6E8A-4147-A177-3AD203B41FA5}">
                      <a16:colId xmlns:a16="http://schemas.microsoft.com/office/drawing/2014/main" val="4044800391"/>
                    </a:ext>
                  </a:extLst>
                </a:gridCol>
              </a:tblGrid>
              <a:tr h="375261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r No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ata Source 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ble Name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oad Strategy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ble Name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245416"/>
                  </a:ext>
                </a:extLst>
              </a:tr>
              <a:tr h="358120"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u="none" strike="noStrike">
                          <a:solidFill>
                            <a:srgbClr val="000000"/>
                          </a:solidFill>
                          <a:effectLst/>
                        </a:rPr>
                        <a:t>Matomo</a:t>
                      </a:r>
                      <a:endParaRPr lang="en-US" sz="1500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500" b="0" u="none" strike="noStrike">
                          <a:solidFill>
                            <a:srgbClr val="000000"/>
                          </a:solidFill>
                          <a:effectLst/>
                        </a:rPr>
                        <a:t>Dail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Truncate and Load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500" err="1">
                          <a:effectLst/>
                        </a:rPr>
                        <a:t>web_traffic_matomo_src</a:t>
                      </a:r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9055660"/>
                  </a:ext>
                </a:extLst>
              </a:tr>
              <a:tr h="368586"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2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u="none" strike="noStrike">
                          <a:solidFill>
                            <a:srgbClr val="000000"/>
                          </a:solidFill>
                          <a:effectLst/>
                        </a:rPr>
                        <a:t>Matomo</a:t>
                      </a:r>
                      <a:endParaRPr lang="en-US" sz="1500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500" err="1">
                          <a:effectLst/>
                        </a:rPr>
                        <a:t>web_traffic_matomo_src</a:t>
                      </a:r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500" b="0" u="none" strike="noStrike">
                          <a:solidFill>
                            <a:srgbClr val="000000"/>
                          </a:solidFill>
                          <a:effectLst/>
                        </a:rPr>
                        <a:t>Dail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err="1"/>
                        <a:t>Upsert</a:t>
                      </a:r>
                      <a:endParaRPr lang="en-US" sz="1500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500" err="1">
                          <a:effectLst/>
                        </a:rPr>
                        <a:t>web_traffic_matomo_stg</a:t>
                      </a:r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802657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28733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4">
            <a:extLst>
              <a:ext uri="{FF2B5EF4-FFF2-40B4-BE49-F238E27FC236}">
                <a16:creationId xmlns:a16="http://schemas.microsoft.com/office/drawing/2014/main" id="{915B3024-85A2-42E6-BCB9-ACD0E852383D}"/>
              </a:ext>
            </a:extLst>
          </p:cNvPr>
          <p:cNvSpPr txBox="1">
            <a:spLocks/>
          </p:cNvSpPr>
          <p:nvPr/>
        </p:nvSpPr>
        <p:spPr>
          <a:xfrm>
            <a:off x="11636829" y="6533523"/>
            <a:ext cx="304799" cy="2063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D08BF7-4E66-49A7-B65A-ED21CCDF426C}"/>
              </a:ext>
            </a:extLst>
          </p:cNvPr>
          <p:cNvSpPr txBox="1">
            <a:spLocks/>
          </p:cNvSpPr>
          <p:nvPr/>
        </p:nvSpPr>
        <p:spPr>
          <a:xfrm>
            <a:off x="485954" y="132770"/>
            <a:ext cx="11137900" cy="7039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 b="1">
                <a:solidFill>
                  <a:srgbClr val="FF0000"/>
                </a:solidFill>
              </a:rPr>
              <a:t>Dataset Details : Curated Tabl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E80A642-06FC-4921-9C70-9D20B581DB88}"/>
              </a:ext>
            </a:extLst>
          </p:cNvPr>
          <p:cNvGraphicFramePr>
            <a:graphicFrameLocks noGrp="1"/>
          </p:cNvGraphicFramePr>
          <p:nvPr/>
        </p:nvGraphicFramePr>
        <p:xfrm>
          <a:off x="657983" y="833196"/>
          <a:ext cx="10858832" cy="1594485"/>
        </p:xfrm>
        <a:graphic>
          <a:graphicData uri="http://schemas.openxmlformats.org/drawingml/2006/table">
            <a:tbl>
              <a:tblPr firstRow="1" bandRow="1"/>
              <a:tblGrid>
                <a:gridCol w="656127">
                  <a:extLst>
                    <a:ext uri="{9D8B030D-6E8A-4147-A177-3AD203B41FA5}">
                      <a16:colId xmlns:a16="http://schemas.microsoft.com/office/drawing/2014/main" val="2772064570"/>
                    </a:ext>
                  </a:extLst>
                </a:gridCol>
                <a:gridCol w="1804558">
                  <a:extLst>
                    <a:ext uri="{9D8B030D-6E8A-4147-A177-3AD203B41FA5}">
                      <a16:colId xmlns:a16="http://schemas.microsoft.com/office/drawing/2014/main" val="2866092636"/>
                    </a:ext>
                  </a:extLst>
                </a:gridCol>
                <a:gridCol w="2586014">
                  <a:extLst>
                    <a:ext uri="{9D8B030D-6E8A-4147-A177-3AD203B41FA5}">
                      <a16:colId xmlns:a16="http://schemas.microsoft.com/office/drawing/2014/main" val="136956314"/>
                    </a:ext>
                  </a:extLst>
                </a:gridCol>
                <a:gridCol w="1459434">
                  <a:extLst>
                    <a:ext uri="{9D8B030D-6E8A-4147-A177-3AD203B41FA5}">
                      <a16:colId xmlns:a16="http://schemas.microsoft.com/office/drawing/2014/main" val="254378626"/>
                    </a:ext>
                  </a:extLst>
                </a:gridCol>
                <a:gridCol w="1869100">
                  <a:extLst>
                    <a:ext uri="{9D8B030D-6E8A-4147-A177-3AD203B41FA5}">
                      <a16:colId xmlns:a16="http://schemas.microsoft.com/office/drawing/2014/main" val="3771330138"/>
                    </a:ext>
                  </a:extLst>
                </a:gridCol>
                <a:gridCol w="2483599">
                  <a:extLst>
                    <a:ext uri="{9D8B030D-6E8A-4147-A177-3AD203B41FA5}">
                      <a16:colId xmlns:a16="http://schemas.microsoft.com/office/drawing/2014/main" val="1531259982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r N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ata Source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ake Table Nam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oad Strate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/Mart Table Nam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640765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u="none" strike="noStrike">
                          <a:solidFill>
                            <a:srgbClr val="000000"/>
                          </a:solidFill>
                          <a:effectLst/>
                        </a:rPr>
                        <a:t>Matomo</a:t>
                      </a:r>
                      <a:endParaRPr lang="en-US" sz="1500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b_traffic_matomo_stg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ly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Truncate and Load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500" err="1">
                          <a:effectLst/>
                        </a:rPr>
                        <a:t>ref_geo_matomo</a:t>
                      </a:r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8359081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2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Matomo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b_traffic_matomo_stg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ly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/>
                        <a:t>Truncate and Load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500" err="1">
                          <a:effectLst/>
                        </a:rPr>
                        <a:t>ref_devices_matomo</a:t>
                      </a:r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3043067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3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Matomo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b_traffic_matomo_stg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ly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/>
                        <a:t>Truncate and Load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500" err="1">
                          <a:effectLst/>
                        </a:rPr>
                        <a:t>txn_session_matomo</a:t>
                      </a:r>
                      <a:endParaRPr lang="en-US" sz="1500"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474288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4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Matomo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5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b_traffic_matomo_stg</a:t>
                      </a:r>
                      <a:endParaRPr kumimoji="1" lang="en-US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ly</a:t>
                      </a:r>
                    </a:p>
                  </a:txBody>
                  <a:tcPr marL="9323" marR="9323" marT="932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/>
                        <a:t>Truncate and Load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pt-BR" sz="1500">
                          <a:effectLst/>
                        </a:rPr>
                        <a:t>txn_action_matomo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34333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13112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D3C3A9E-550C-4F16-B382-125FA0FB31F4}"/>
              </a:ext>
            </a:extLst>
          </p:cNvPr>
          <p:cNvSpPr/>
          <p:nvPr/>
        </p:nvSpPr>
        <p:spPr>
          <a:xfrm>
            <a:off x="2924831" y="1222237"/>
            <a:ext cx="2369841" cy="5067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txn_session_matomo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8B6AB9-0F32-42EF-8C68-075310B99DB0}"/>
              </a:ext>
            </a:extLst>
          </p:cNvPr>
          <p:cNvSpPr/>
          <p:nvPr/>
        </p:nvSpPr>
        <p:spPr>
          <a:xfrm>
            <a:off x="3046832" y="4819386"/>
            <a:ext cx="2177669" cy="5067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Ref_cust_crm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3B14AD6-FE4C-4AA5-A336-8FD529F7E08B}"/>
              </a:ext>
            </a:extLst>
          </p:cNvPr>
          <p:cNvSpPr/>
          <p:nvPr/>
        </p:nvSpPr>
        <p:spPr>
          <a:xfrm>
            <a:off x="2754426" y="2464842"/>
            <a:ext cx="2616507" cy="5067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  <a:latin typeface="Calibri" panose="020F0502020204030204" pitchFamily="34" charset="0"/>
              </a:rPr>
              <a:t>ref_geo_matomo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A9D607-F87F-4D55-8434-1F2ACE4AC320}"/>
              </a:ext>
            </a:extLst>
          </p:cNvPr>
          <p:cNvSpPr/>
          <p:nvPr/>
        </p:nvSpPr>
        <p:spPr>
          <a:xfrm>
            <a:off x="3022961" y="3242390"/>
            <a:ext cx="2225412" cy="5067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ref_devices_matomo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99941D-CB5F-4988-9F6B-87B57E8CA167}"/>
              </a:ext>
            </a:extLst>
          </p:cNvPr>
          <p:cNvSpPr/>
          <p:nvPr/>
        </p:nvSpPr>
        <p:spPr>
          <a:xfrm>
            <a:off x="2785931" y="4068334"/>
            <a:ext cx="2616507" cy="5067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ref_geogrpy_intl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0093C76-9BFE-4D5A-BB05-40F1F92CDA29}"/>
              </a:ext>
            </a:extLst>
          </p:cNvPr>
          <p:cNvSpPr/>
          <p:nvPr/>
        </p:nvSpPr>
        <p:spPr>
          <a:xfrm>
            <a:off x="2338080" y="2273161"/>
            <a:ext cx="3547432" cy="333868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EDF9384-49E3-4E9A-8CD9-9EBEFCF9430F}"/>
              </a:ext>
            </a:extLst>
          </p:cNvPr>
          <p:cNvCxnSpPr>
            <a:cxnSpLocks/>
            <a:stCxn id="2" idx="1"/>
            <a:endCxn id="7" idx="3"/>
          </p:cNvCxnSpPr>
          <p:nvPr/>
        </p:nvCxnSpPr>
        <p:spPr>
          <a:xfrm flipH="1">
            <a:off x="5294672" y="1470214"/>
            <a:ext cx="2367324" cy="54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47C1598-A879-4DED-A158-F8137855DBB5}"/>
              </a:ext>
            </a:extLst>
          </p:cNvPr>
          <p:cNvCxnSpPr>
            <a:cxnSpLocks/>
            <a:stCxn id="7" idx="2"/>
            <a:endCxn id="47" idx="0"/>
          </p:cNvCxnSpPr>
          <p:nvPr/>
        </p:nvCxnSpPr>
        <p:spPr>
          <a:xfrm>
            <a:off x="4109752" y="1729014"/>
            <a:ext cx="2044" cy="5441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itle 1">
            <a:extLst>
              <a:ext uri="{FF2B5EF4-FFF2-40B4-BE49-F238E27FC236}">
                <a16:creationId xmlns:a16="http://schemas.microsoft.com/office/drawing/2014/main" id="{AEF4C087-F998-4FA1-920B-F50727560671}"/>
              </a:ext>
            </a:extLst>
          </p:cNvPr>
          <p:cNvSpPr txBox="1">
            <a:spLocks/>
          </p:cNvSpPr>
          <p:nvPr/>
        </p:nvSpPr>
        <p:spPr>
          <a:xfrm>
            <a:off x="497529" y="132770"/>
            <a:ext cx="11137900" cy="53750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 b="1">
                <a:solidFill>
                  <a:srgbClr val="FF0000"/>
                </a:solidFill>
              </a:rPr>
              <a:t>Matomo ERD – Data model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805BBD6-6D6F-4347-AFD9-3A71A6FA32BB}"/>
              </a:ext>
            </a:extLst>
          </p:cNvPr>
          <p:cNvSpPr/>
          <p:nvPr/>
        </p:nvSpPr>
        <p:spPr>
          <a:xfrm>
            <a:off x="8184751" y="3429000"/>
            <a:ext cx="2301912" cy="4871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txn_action_matomo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B7F611B-1CF8-145A-9C94-A89797F6E72B}"/>
              </a:ext>
            </a:extLst>
          </p:cNvPr>
          <p:cNvSpPr/>
          <p:nvPr/>
        </p:nvSpPr>
        <p:spPr>
          <a:xfrm>
            <a:off x="7661996" y="1216825"/>
            <a:ext cx="1818565" cy="5067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ref_camp_crm</a:t>
            </a: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A92C821-733D-17FE-FF42-73FBEB8A017C}"/>
              </a:ext>
            </a:extLst>
          </p:cNvPr>
          <p:cNvCxnSpPr>
            <a:cxnSpLocks/>
            <a:stCxn id="29" idx="1"/>
          </p:cNvCxnSpPr>
          <p:nvPr/>
        </p:nvCxnSpPr>
        <p:spPr>
          <a:xfrm flipH="1">
            <a:off x="6366186" y="3672552"/>
            <a:ext cx="18185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3179B6A8-E9DF-E859-8FC3-F38920867C1E}"/>
              </a:ext>
            </a:extLst>
          </p:cNvPr>
          <p:cNvCxnSpPr>
            <a:cxnSpLocks/>
            <a:stCxn id="14" idx="3"/>
            <a:endCxn id="16" idx="3"/>
          </p:cNvCxnSpPr>
          <p:nvPr/>
        </p:nvCxnSpPr>
        <p:spPr>
          <a:xfrm>
            <a:off x="5370933" y="2718231"/>
            <a:ext cx="31505" cy="1603492"/>
          </a:xfrm>
          <a:prstGeom prst="bentConnector3">
            <a:avLst>
              <a:gd name="adj1" fmla="val 82559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9B1B64B9-8C15-D5FC-6900-14B79910B9E3}"/>
              </a:ext>
            </a:extLst>
          </p:cNvPr>
          <p:cNvSpPr/>
          <p:nvPr/>
        </p:nvSpPr>
        <p:spPr>
          <a:xfrm>
            <a:off x="2013995" y="983849"/>
            <a:ext cx="4352191" cy="485129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F3F1F91-EB30-1C04-A091-09CDDC7AE1BC}"/>
              </a:ext>
            </a:extLst>
          </p:cNvPr>
          <p:cNvSpPr/>
          <p:nvPr/>
        </p:nvSpPr>
        <p:spPr>
          <a:xfrm>
            <a:off x="7917087" y="4575834"/>
            <a:ext cx="2858947" cy="4871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1"/>
                </a:solidFill>
              </a:rPr>
              <a:t>ref_digital_mkt_asset_gem</a:t>
            </a: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C6BB265-5DD9-643E-325E-54B8E54637E1}"/>
              </a:ext>
            </a:extLst>
          </p:cNvPr>
          <p:cNvCxnSpPr>
            <a:cxnSpLocks/>
            <a:stCxn id="29" idx="2"/>
            <a:endCxn id="64" idx="0"/>
          </p:cNvCxnSpPr>
          <p:nvPr/>
        </p:nvCxnSpPr>
        <p:spPr>
          <a:xfrm>
            <a:off x="9335707" y="3916104"/>
            <a:ext cx="10854" cy="6597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1910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le 1">
            <a:extLst>
              <a:ext uri="{FF2B5EF4-FFF2-40B4-BE49-F238E27FC236}">
                <a16:creationId xmlns:a16="http://schemas.microsoft.com/office/drawing/2014/main" id="{AEF4C087-F998-4FA1-920B-F50727560671}"/>
              </a:ext>
            </a:extLst>
          </p:cNvPr>
          <p:cNvSpPr txBox="1">
            <a:spLocks/>
          </p:cNvSpPr>
          <p:nvPr/>
        </p:nvSpPr>
        <p:spPr>
          <a:xfrm>
            <a:off x="497529" y="132770"/>
            <a:ext cx="11137900" cy="53750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 b="1">
                <a:solidFill>
                  <a:srgbClr val="FF0000"/>
                </a:solidFill>
              </a:rPr>
              <a:t>Matomo ERD – Data model </a:t>
            </a:r>
          </a:p>
        </p:txBody>
      </p:sp>
      <p:pic>
        <p:nvPicPr>
          <p:cNvPr id="11" name="Picture 10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C7C55AE7-B645-6DFC-0322-9CEA48FC9C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2797" y="670278"/>
            <a:ext cx="5403489" cy="576234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58582D8-6BB8-F85E-28F6-7B36D68CD411}"/>
              </a:ext>
            </a:extLst>
          </p:cNvPr>
          <p:cNvSpPr txBox="1"/>
          <p:nvPr/>
        </p:nvSpPr>
        <p:spPr>
          <a:xfrm>
            <a:off x="729343" y="1121229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hlinkClick r:id="rId4"/>
              </a:rPr>
              <a:t>Data Mod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80354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4">
            <a:extLst>
              <a:ext uri="{FF2B5EF4-FFF2-40B4-BE49-F238E27FC236}">
                <a16:creationId xmlns:a16="http://schemas.microsoft.com/office/drawing/2014/main" id="{915B3024-85A2-42E6-BCB9-ACD0E852383D}"/>
              </a:ext>
            </a:extLst>
          </p:cNvPr>
          <p:cNvSpPr txBox="1">
            <a:spLocks/>
          </p:cNvSpPr>
          <p:nvPr/>
        </p:nvSpPr>
        <p:spPr>
          <a:xfrm>
            <a:off x="11636829" y="6533523"/>
            <a:ext cx="304799" cy="2063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BD57778-E211-481B-B7EE-74138845C5C3}"/>
              </a:ext>
            </a:extLst>
          </p:cNvPr>
          <p:cNvSpPr txBox="1">
            <a:spLocks/>
          </p:cNvSpPr>
          <p:nvPr/>
        </p:nvSpPr>
        <p:spPr>
          <a:xfrm>
            <a:off x="485954" y="132770"/>
            <a:ext cx="11137900" cy="7039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 b="1">
                <a:solidFill>
                  <a:srgbClr val="FF0000"/>
                </a:solidFill>
              </a:rPr>
              <a:t>Table Joins :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BBD770-90C2-4B89-A408-D992EB22FE4F}"/>
              </a:ext>
            </a:extLst>
          </p:cNvPr>
          <p:cNvGraphicFramePr>
            <a:graphicFrameLocks noGrp="1"/>
          </p:cNvGraphicFramePr>
          <p:nvPr/>
        </p:nvGraphicFramePr>
        <p:xfrm>
          <a:off x="412213" y="914397"/>
          <a:ext cx="11408229" cy="4497267"/>
        </p:xfrm>
        <a:graphic>
          <a:graphicData uri="http://schemas.openxmlformats.org/drawingml/2006/table">
            <a:tbl>
              <a:tblPr firstRow="1" bandRow="1"/>
              <a:tblGrid>
                <a:gridCol w="2264884">
                  <a:extLst>
                    <a:ext uri="{9D8B030D-6E8A-4147-A177-3AD203B41FA5}">
                      <a16:colId xmlns:a16="http://schemas.microsoft.com/office/drawing/2014/main" val="3587079161"/>
                    </a:ext>
                  </a:extLst>
                </a:gridCol>
                <a:gridCol w="2521627">
                  <a:extLst>
                    <a:ext uri="{9D8B030D-6E8A-4147-A177-3AD203B41FA5}">
                      <a16:colId xmlns:a16="http://schemas.microsoft.com/office/drawing/2014/main" val="2525038995"/>
                    </a:ext>
                  </a:extLst>
                </a:gridCol>
                <a:gridCol w="6621718">
                  <a:extLst>
                    <a:ext uri="{9D8B030D-6E8A-4147-A177-3AD203B41FA5}">
                      <a16:colId xmlns:a16="http://schemas.microsoft.com/office/drawing/2014/main" val="1874946497"/>
                    </a:ext>
                  </a:extLst>
                </a:gridCol>
              </a:tblGrid>
              <a:tr h="27683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bleName1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bleName2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Join Condition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11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907586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GRPY_INTL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_MATOMO.GEO_KEY = REF_GEOGRPY_INTL.GEOGRPY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0447181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.GEOGRPY_KEY = REF_GEO_MATOMO.GEOGRPY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240059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SESS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DEVICES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.DEVICE_KEY = REF_DEVICES_MATOMO.DEVICE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2724886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SESS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GRPY_INTL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.GEO_KEY = REF_GEOGRPY_INTL.GEOGRPY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4629997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SESS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CAMP_CRM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.CAMP_CRM_KEY = REF_CAMP_CRM.CAMP_CRM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2536412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SESS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CUST_CRM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.CUST_KEY = REF_CUST_CRM.CUST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9627308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SESS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.SESSION_KEY = TXN_SESSION_MATOMO.SESSION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0778499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ACT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.GEOGRPY_KEY = REF_GEO_MATOMO.GEOGRPY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538433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ACT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DEVICES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.DEVICE_KEY = REF_DEVICES_MATOMO.DEVICE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153411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ACT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GEOGRPY_INTL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.GEO_KEY = REF_GEOGRPY_INTL.GEOGRPY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6795979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ACT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DIGITAL_MKT_ASSET_GEM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.MKT_ASSET_KEY = REF_DIGITAL_MKT_ASSET_GEM.MKT_ASSET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095166"/>
                  </a:ext>
                </a:extLst>
              </a:tr>
              <a:tr h="3434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XN_ACTION_MATOMO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_CUST_CRM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XN_ACTION_MATOMO.CUST_KEY = REF_CUST_CRM.CUST_KEY</a:t>
                      </a:r>
                    </a:p>
                  </a:txBody>
                  <a:tcPr marL="9089" marR="9089" marT="90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856241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9719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GpZFBM9UmZ3exVrycA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CC671639-4675-498F-8406-CC38EFAC0128}" vid="{D2ECA16B-CEDF-4EB1-A5E5-09346E461B18}"/>
    </a:ext>
  </a:extLst>
</a:theme>
</file>

<file path=ppt/theme/theme2.xml><?xml version="1.0" encoding="utf-8"?>
<a:theme xmlns:a="http://schemas.openxmlformats.org/drawingml/2006/main" name="Takeda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keda" id="{711AB790-AB6F-4CE4-869B-A8566E9C5B64}" vid="{2A4B4A80-4EB6-439C-B441-8DE474067B1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788AB4271D2F4B82540158621652FA" ma:contentTypeVersion="13" ma:contentTypeDescription="Create a new document." ma:contentTypeScope="" ma:versionID="841054a330d1441e23e9b56358b486a2">
  <xsd:schema xmlns:xsd="http://www.w3.org/2001/XMLSchema" xmlns:xs="http://www.w3.org/2001/XMLSchema" xmlns:p="http://schemas.microsoft.com/office/2006/metadata/properties" xmlns:ns3="c35d9128-0199-448a-8954-7c37adaffeb5" xmlns:ns4="a6f08481-6c03-4d4f-8c55-15386435109c" targetNamespace="http://schemas.microsoft.com/office/2006/metadata/properties" ma:root="true" ma:fieldsID="2d0b0b793b54908d3c23faa78937d367" ns3:_="" ns4:_="">
    <xsd:import namespace="c35d9128-0199-448a-8954-7c37adaffeb5"/>
    <xsd:import namespace="a6f08481-6c03-4d4f-8c55-15386435109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5d9128-0199-448a-8954-7c37adaffe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f08481-6c03-4d4f-8c55-15386435109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C19292C-02CA-454B-826A-C373CCBD4BE5}">
  <ds:schemaRefs>
    <ds:schemaRef ds:uri="a6f08481-6c03-4d4f-8c55-15386435109c"/>
    <ds:schemaRef ds:uri="c35d9128-0199-448a-8954-7c37adaffeb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CC3BB52-6112-4A90-B1AF-BB2849B505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64AA88-9994-4773-9B46-6F25641ADC01}">
  <ds:schemaRefs>
    <ds:schemaRef ds:uri="a6f08481-6c03-4d4f-8c55-15386435109c"/>
    <ds:schemaRef ds:uri="c35d9128-0199-448a-8954-7c37adaffeb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74</Words>
  <Application>Microsoft Office PowerPoint</Application>
  <PresentationFormat>Widescreen</PresentationFormat>
  <Paragraphs>242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Takeda Slide Master</vt:lpstr>
      <vt:lpstr>Takeda</vt:lpstr>
      <vt:lpstr>think-cell Slide</vt:lpstr>
      <vt:lpstr>Matomo in EDB</vt:lpstr>
      <vt:lpstr>CX Datahub Datasets</vt:lpstr>
      <vt:lpstr>KPI’s to be Achieved</vt:lpstr>
      <vt:lpstr>Matomo – Website Analyt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omo in EDB</dc:title>
  <dc:subject/>
  <dc:creator>Kiew, Stefanie</dc:creator>
  <cp:keywords/>
  <dc:description/>
  <cp:lastModifiedBy>Watson, Callum</cp:lastModifiedBy>
  <cp:revision>1</cp:revision>
  <dcterms:created xsi:type="dcterms:W3CDTF">2023-07-12T09:18:02Z</dcterms:created>
  <dcterms:modified xsi:type="dcterms:W3CDTF">2023-07-20T11:05:0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788AB4271D2F4B82540158621652FA</vt:lpwstr>
  </property>
</Properties>
</file>